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4.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7.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8.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9.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0.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1.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2.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13.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4.xml" ContentType="application/vnd.openxmlformats-officedocument.theme+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16.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17.xml" ContentType="application/vnd.openxmlformats-officedocument.theme+xml"/>
  <Override PartName="/ppt/tags/tag2.xml" ContentType="application/vnd.openxmlformats-officedocument.presentationml.tags+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18.xml" ContentType="application/vnd.openxmlformats-officedocument.theme+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theme/theme19.xml" ContentType="application/vnd.openxmlformats-officedocument.theme+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96" r:id="rId4"/>
    <p:sldMasterId id="2147483762" r:id="rId5"/>
    <p:sldMasterId id="2147485638" r:id="rId6"/>
    <p:sldMasterId id="2147485672" r:id="rId7"/>
    <p:sldMasterId id="2147485732" r:id="rId8"/>
    <p:sldMasterId id="2147485765" r:id="rId9"/>
    <p:sldMasterId id="2147485809" r:id="rId10"/>
    <p:sldMasterId id="2147485848" r:id="rId11"/>
    <p:sldMasterId id="2147485859" r:id="rId12"/>
    <p:sldMasterId id="2147485874" r:id="rId13"/>
    <p:sldMasterId id="2147485913" r:id="rId14"/>
    <p:sldMasterId id="2147485944" r:id="rId15"/>
    <p:sldMasterId id="2147485977" r:id="rId16"/>
    <p:sldMasterId id="2147486013" r:id="rId17"/>
    <p:sldMasterId id="2147486047" r:id="rId18"/>
    <p:sldMasterId id="2147486069" r:id="rId19"/>
    <p:sldMasterId id="2147486105" r:id="rId20"/>
    <p:sldMasterId id="2147486127" r:id="rId21"/>
    <p:sldMasterId id="2147486163" r:id="rId22"/>
    <p:sldMasterId id="2147486189" r:id="rId23"/>
  </p:sldMasterIdLst>
  <p:notesMasterIdLst>
    <p:notesMasterId r:id="rId54"/>
  </p:notesMasterIdLst>
  <p:sldIdLst>
    <p:sldId id="2146846702" r:id="rId24"/>
    <p:sldId id="2146846713" r:id="rId25"/>
    <p:sldId id="2146846714" r:id="rId26"/>
    <p:sldId id="2146846729" r:id="rId27"/>
    <p:sldId id="2146846730" r:id="rId28"/>
    <p:sldId id="2146846734" r:id="rId29"/>
    <p:sldId id="2146846731" r:id="rId30"/>
    <p:sldId id="2076137900" r:id="rId31"/>
    <p:sldId id="2076137617" r:id="rId32"/>
    <p:sldId id="2146846733" r:id="rId33"/>
    <p:sldId id="2146846742" r:id="rId34"/>
    <p:sldId id="2076137349" r:id="rId35"/>
    <p:sldId id="2076137947" r:id="rId36"/>
    <p:sldId id="2146846736" r:id="rId37"/>
    <p:sldId id="2146846737" r:id="rId38"/>
    <p:sldId id="2146846743" r:id="rId39"/>
    <p:sldId id="2146846735" r:id="rId40"/>
    <p:sldId id="2474" r:id="rId41"/>
    <p:sldId id="10620" r:id="rId42"/>
    <p:sldId id="2141411343" r:id="rId43"/>
    <p:sldId id="2141411345" r:id="rId44"/>
    <p:sldId id="2141411346" r:id="rId45"/>
    <p:sldId id="2076137514" r:id="rId46"/>
    <p:sldId id="2146846744" r:id="rId47"/>
    <p:sldId id="2146846738" r:id="rId48"/>
    <p:sldId id="2076137880" r:id="rId49"/>
    <p:sldId id="2146846745" r:id="rId50"/>
    <p:sldId id="2146846739" r:id="rId51"/>
    <p:sldId id="2146846740" r:id="rId52"/>
    <p:sldId id="2146846741"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201C3B4-608A-4051-946E-CA6CB3CC016F}">
          <p14:sldIdLst>
            <p14:sldId id="2146846702"/>
            <p14:sldId id="2146846713"/>
            <p14:sldId id="2146846714"/>
            <p14:sldId id="2146846729"/>
            <p14:sldId id="2146846730"/>
            <p14:sldId id="2146846734"/>
            <p14:sldId id="2146846731"/>
            <p14:sldId id="2076137900"/>
            <p14:sldId id="2076137617"/>
            <p14:sldId id="2146846733"/>
            <p14:sldId id="2146846742"/>
            <p14:sldId id="2076137349"/>
            <p14:sldId id="2076137947"/>
            <p14:sldId id="2146846736"/>
            <p14:sldId id="2146846737"/>
            <p14:sldId id="2146846743"/>
            <p14:sldId id="2146846735"/>
            <p14:sldId id="2474"/>
            <p14:sldId id="10620"/>
            <p14:sldId id="2141411343"/>
            <p14:sldId id="2141411345"/>
            <p14:sldId id="2141411346"/>
            <p14:sldId id="2076137514"/>
            <p14:sldId id="2146846744"/>
            <p14:sldId id="2146846738"/>
            <p14:sldId id="2076137880"/>
            <p14:sldId id="2146846745"/>
            <p14:sldId id="2146846739"/>
            <p14:sldId id="2146846740"/>
            <p14:sldId id="214684674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 Freeman" initials="MF" lastIdx="11" clrIdx="0">
    <p:extLst>
      <p:ext uri="{19B8F6BF-5375-455C-9EA6-DF929625EA0E}">
        <p15:presenceInfo xmlns:p15="http://schemas.microsoft.com/office/powerpoint/2012/main" userId="121e402a363cbb7f" providerId="Windows Live"/>
      </p:ext>
    </p:extLst>
  </p:cmAuthor>
  <p:cmAuthor id="2" name="Marc Freeman" initials="MF [2]" lastIdx="1" clrIdx="1">
    <p:extLst>
      <p:ext uri="{19B8F6BF-5375-455C-9EA6-DF929625EA0E}">
        <p15:presenceInfo xmlns:p15="http://schemas.microsoft.com/office/powerpoint/2012/main" userId="Marc Free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1D4B7A"/>
    <a:srgbClr val="195A98"/>
    <a:srgbClr val="1B2C45"/>
    <a:srgbClr val="303030"/>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78025" autoAdjust="0"/>
  </p:normalViewPr>
  <p:slideViewPr>
    <p:cSldViewPr snapToGrid="0">
      <p:cViewPr varScale="1">
        <p:scale>
          <a:sx n="90" d="100"/>
          <a:sy n="90" d="100"/>
        </p:scale>
        <p:origin x="114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6.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B535A4-DA47-49AB-A01A-CFD3B8BDA142}" type="doc">
      <dgm:prSet loTypeId="urn:microsoft.com/office/officeart/2005/8/layout/pList2" loCatId="list" qsTypeId="urn:microsoft.com/office/officeart/2005/8/quickstyle/simple1" qsCatId="simple" csTypeId="urn:microsoft.com/office/officeart/2005/8/colors/accent1_2" csCatId="accent1" phldr="1"/>
      <dgm:spPr/>
    </dgm:pt>
    <dgm:pt modelId="{34F6A458-E789-42F0-A07D-F96DD0E946DD}">
      <dgm:prSet phldrT="[Text]"/>
      <dgm:spPr/>
      <dgm:t>
        <a:bodyPr/>
        <a:lstStyle/>
        <a:p>
          <a:r>
            <a:rPr lang="en-US"/>
            <a:t>Direct over WAN</a:t>
          </a:r>
        </a:p>
      </dgm:t>
    </dgm:pt>
    <dgm:pt modelId="{E0F42957-739B-4329-834B-B6004AABA0AD}" type="parTrans" cxnId="{9B1E3F81-C689-408E-AC15-1CC979482B97}">
      <dgm:prSet/>
      <dgm:spPr/>
      <dgm:t>
        <a:bodyPr/>
        <a:lstStyle/>
        <a:p>
          <a:endParaRPr lang="en-US"/>
        </a:p>
      </dgm:t>
    </dgm:pt>
    <dgm:pt modelId="{1B614427-AB19-49AB-8476-4F4B5F475732}" type="sibTrans" cxnId="{9B1E3F81-C689-408E-AC15-1CC979482B97}">
      <dgm:prSet/>
      <dgm:spPr/>
      <dgm:t>
        <a:bodyPr/>
        <a:lstStyle/>
        <a:p>
          <a:endParaRPr lang="en-US"/>
        </a:p>
      </dgm:t>
    </dgm:pt>
    <dgm:pt modelId="{538C5CE8-F4F6-4923-81CB-AD4970537792}">
      <dgm:prSet phldrT="[Text]"/>
      <dgm:spPr/>
      <dgm:t>
        <a:bodyPr/>
        <a:lstStyle/>
        <a:p>
          <a:r>
            <a:rPr lang="en-US"/>
            <a:t>Protocol gateway</a:t>
          </a:r>
        </a:p>
      </dgm:t>
    </dgm:pt>
    <dgm:pt modelId="{331485D1-1E1F-4C67-8BD6-6386CBC55514}" type="parTrans" cxnId="{BCC0ADAD-7810-4FE0-A4F0-04DF100CD286}">
      <dgm:prSet/>
      <dgm:spPr/>
      <dgm:t>
        <a:bodyPr/>
        <a:lstStyle/>
        <a:p>
          <a:endParaRPr lang="en-US"/>
        </a:p>
      </dgm:t>
    </dgm:pt>
    <dgm:pt modelId="{B2ADDBDC-7892-4110-9DA5-00BCD3E98D6D}" type="sibTrans" cxnId="{BCC0ADAD-7810-4FE0-A4F0-04DF100CD286}">
      <dgm:prSet/>
      <dgm:spPr/>
      <dgm:t>
        <a:bodyPr/>
        <a:lstStyle/>
        <a:p>
          <a:endParaRPr lang="en-US"/>
        </a:p>
      </dgm:t>
    </dgm:pt>
    <dgm:pt modelId="{56ABB444-ACD8-4DC8-92BC-AAC4D2FFC965}">
      <dgm:prSet phldrT="[Text]"/>
      <dgm:spPr/>
      <dgm:t>
        <a:bodyPr/>
        <a:lstStyle/>
        <a:p>
          <a:r>
            <a:rPr lang="en-US"/>
            <a:t>Edge</a:t>
          </a:r>
        </a:p>
      </dgm:t>
    </dgm:pt>
    <dgm:pt modelId="{2DDE50A1-4E8A-4CA9-8D7B-524934D46E3B}" type="parTrans" cxnId="{1CFD6880-7323-40A7-A4ED-076B732F2C78}">
      <dgm:prSet/>
      <dgm:spPr/>
      <dgm:t>
        <a:bodyPr/>
        <a:lstStyle/>
        <a:p>
          <a:endParaRPr lang="en-US"/>
        </a:p>
      </dgm:t>
    </dgm:pt>
    <dgm:pt modelId="{5F1ED569-9E80-4F86-A719-6167E76054E5}" type="sibTrans" cxnId="{1CFD6880-7323-40A7-A4ED-076B732F2C78}">
      <dgm:prSet/>
      <dgm:spPr/>
      <dgm:t>
        <a:bodyPr/>
        <a:lstStyle/>
        <a:p>
          <a:endParaRPr lang="en-US"/>
        </a:p>
      </dgm:t>
    </dgm:pt>
    <dgm:pt modelId="{CB1BC799-EF23-4ED8-99AF-6A83284304D5}">
      <dgm:prSet phldrT="[Text]"/>
      <dgm:spPr/>
      <dgm:t>
        <a:bodyPr/>
        <a:lstStyle/>
        <a:p>
          <a:r>
            <a:rPr lang="en-US"/>
            <a:t>Devices have public IPv4 &amp; connect to IoT hub directly</a:t>
          </a:r>
        </a:p>
      </dgm:t>
    </dgm:pt>
    <dgm:pt modelId="{10C17C9E-717F-4ABA-B016-86CE19F79A35}" type="parTrans" cxnId="{6EE27146-6DC9-477B-8FAD-22F1152E82A8}">
      <dgm:prSet/>
      <dgm:spPr/>
      <dgm:t>
        <a:bodyPr/>
        <a:lstStyle/>
        <a:p>
          <a:endParaRPr lang="en-US"/>
        </a:p>
      </dgm:t>
    </dgm:pt>
    <dgm:pt modelId="{8133DA8A-B59B-49F9-B2AD-6383806D4C3E}" type="sibTrans" cxnId="{6EE27146-6DC9-477B-8FAD-22F1152E82A8}">
      <dgm:prSet/>
      <dgm:spPr/>
      <dgm:t>
        <a:bodyPr/>
        <a:lstStyle/>
        <a:p>
          <a:endParaRPr lang="en-US"/>
        </a:p>
      </dgm:t>
    </dgm:pt>
    <dgm:pt modelId="{8B4B87DA-CBD2-4FA8-86CF-6AE967BD6C91}">
      <dgm:prSet phldrT="[Text]"/>
      <dgm:spPr/>
      <dgm:t>
        <a:bodyPr/>
        <a:lstStyle/>
        <a:p>
          <a:r>
            <a:rPr lang="en-US"/>
            <a:t>Direct from a private network</a:t>
          </a:r>
        </a:p>
      </dgm:t>
    </dgm:pt>
    <dgm:pt modelId="{3EEF501E-5108-40FF-B6F7-DA5284E1774F}" type="parTrans" cxnId="{659738AF-F32F-41E5-B8B7-C9844C16E258}">
      <dgm:prSet/>
      <dgm:spPr/>
      <dgm:t>
        <a:bodyPr/>
        <a:lstStyle/>
        <a:p>
          <a:endParaRPr lang="en-US"/>
        </a:p>
      </dgm:t>
    </dgm:pt>
    <dgm:pt modelId="{3D97940C-BEEF-4363-86D2-A32D1157437A}" type="sibTrans" cxnId="{659738AF-F32F-41E5-B8B7-C9844C16E258}">
      <dgm:prSet/>
      <dgm:spPr/>
      <dgm:t>
        <a:bodyPr/>
        <a:lstStyle/>
        <a:p>
          <a:endParaRPr lang="en-US"/>
        </a:p>
      </dgm:t>
    </dgm:pt>
    <dgm:pt modelId="{F3804ACC-05A9-4D2F-847A-BF1DDD12113F}">
      <dgm:prSet phldrT="[Text]"/>
      <dgm:spPr/>
      <dgm:t>
        <a:bodyPr/>
        <a:lstStyle/>
        <a:p>
          <a:r>
            <a:rPr lang="en-US"/>
            <a:t>Devices have private IP</a:t>
          </a:r>
        </a:p>
      </dgm:t>
    </dgm:pt>
    <dgm:pt modelId="{C27A71CD-B2A1-4F17-B429-748EAC182D4C}" type="parTrans" cxnId="{5BDECF82-6D67-4734-AAEA-040658198F37}">
      <dgm:prSet/>
      <dgm:spPr/>
      <dgm:t>
        <a:bodyPr/>
        <a:lstStyle/>
        <a:p>
          <a:endParaRPr lang="en-US"/>
        </a:p>
      </dgm:t>
    </dgm:pt>
    <dgm:pt modelId="{A0EE9B32-481C-45F2-9D20-86C2989A0C16}" type="sibTrans" cxnId="{5BDECF82-6D67-4734-AAEA-040658198F37}">
      <dgm:prSet/>
      <dgm:spPr/>
      <dgm:t>
        <a:bodyPr/>
        <a:lstStyle/>
        <a:p>
          <a:endParaRPr lang="en-US"/>
        </a:p>
      </dgm:t>
    </dgm:pt>
    <dgm:pt modelId="{F1933A96-22C0-41B5-B80D-354E5175A940}">
      <dgm:prSet phldrT="[Text]"/>
      <dgm:spPr/>
      <dgm:t>
        <a:bodyPr/>
        <a:lstStyle/>
        <a:p>
          <a:r>
            <a:rPr lang="en-US"/>
            <a:t>Devices’ traffic pass a net. gateway (e.g., HTTP GW) performing NAT</a:t>
          </a:r>
        </a:p>
      </dgm:t>
    </dgm:pt>
    <dgm:pt modelId="{93D8BD0D-9981-40FE-B3CD-DF05513C6564}" type="parTrans" cxnId="{6AF72F42-3585-4E06-9BF8-65176B3021B9}">
      <dgm:prSet/>
      <dgm:spPr/>
      <dgm:t>
        <a:bodyPr/>
        <a:lstStyle/>
        <a:p>
          <a:endParaRPr lang="en-US"/>
        </a:p>
      </dgm:t>
    </dgm:pt>
    <dgm:pt modelId="{FB846F90-DA9D-46B4-9066-509BE7602DD4}" type="sibTrans" cxnId="{6AF72F42-3585-4E06-9BF8-65176B3021B9}">
      <dgm:prSet/>
      <dgm:spPr/>
      <dgm:t>
        <a:bodyPr/>
        <a:lstStyle/>
        <a:p>
          <a:endParaRPr lang="en-US"/>
        </a:p>
      </dgm:t>
    </dgm:pt>
    <dgm:pt modelId="{81627679-8233-432F-AE70-1F9648C3E905}">
      <dgm:prSet phldrT="[Text]"/>
      <dgm:spPr/>
      <dgm:t>
        <a:bodyPr/>
        <a:lstStyle/>
        <a:p>
          <a:r>
            <a:rPr lang="en-US"/>
            <a:t>Devices connect to PG</a:t>
          </a:r>
        </a:p>
      </dgm:t>
    </dgm:pt>
    <dgm:pt modelId="{AB702EAB-5A0C-436B-8206-FA1134C3D1B6}" type="parTrans" cxnId="{93FC3056-AD78-44D3-BF2F-4CF3CC0CBA55}">
      <dgm:prSet/>
      <dgm:spPr/>
      <dgm:t>
        <a:bodyPr/>
        <a:lstStyle/>
        <a:p>
          <a:endParaRPr lang="en-US"/>
        </a:p>
      </dgm:t>
    </dgm:pt>
    <dgm:pt modelId="{3A433908-FD29-4E21-A10E-6BCBA143B654}" type="sibTrans" cxnId="{93FC3056-AD78-44D3-BF2F-4CF3CC0CBA55}">
      <dgm:prSet/>
      <dgm:spPr/>
      <dgm:t>
        <a:bodyPr/>
        <a:lstStyle/>
        <a:p>
          <a:endParaRPr lang="en-US"/>
        </a:p>
      </dgm:t>
    </dgm:pt>
    <dgm:pt modelId="{42AA84C7-1D0D-4ED9-B5F5-6DB7CA900D9E}">
      <dgm:prSet phldrT="[Text]"/>
      <dgm:spPr/>
      <dgm:t>
        <a:bodyPr/>
        <a:lstStyle/>
        <a:p>
          <a:r>
            <a:rPr lang="en-US"/>
            <a:t>A special-purpose protocol gateway</a:t>
          </a:r>
        </a:p>
      </dgm:t>
    </dgm:pt>
    <dgm:pt modelId="{EF11E00E-0254-4EEA-84FB-56933B1F77FF}" type="parTrans" cxnId="{318373E3-3710-46EC-B97F-08F64F736B49}">
      <dgm:prSet/>
      <dgm:spPr/>
      <dgm:t>
        <a:bodyPr/>
        <a:lstStyle/>
        <a:p>
          <a:endParaRPr lang="en-US"/>
        </a:p>
      </dgm:t>
    </dgm:pt>
    <dgm:pt modelId="{3EA8F2C6-E55F-4699-B010-964F282A530E}" type="sibTrans" cxnId="{318373E3-3710-46EC-B97F-08F64F736B49}">
      <dgm:prSet/>
      <dgm:spPr/>
      <dgm:t>
        <a:bodyPr/>
        <a:lstStyle/>
        <a:p>
          <a:endParaRPr lang="en-US"/>
        </a:p>
      </dgm:t>
    </dgm:pt>
    <dgm:pt modelId="{496DCFBA-41F6-4929-A5CE-0CB5D7EAD1CB}">
      <dgm:prSet phldrT="[Text]"/>
      <dgm:spPr/>
      <dgm:t>
        <a:bodyPr/>
        <a:lstStyle/>
        <a:p>
          <a:r>
            <a:rPr lang="en-US"/>
            <a:t>Edge runtime deploys &amp; manages devices’ code</a:t>
          </a:r>
        </a:p>
      </dgm:t>
    </dgm:pt>
    <dgm:pt modelId="{630D1441-C24C-4180-AD30-DA9B4777957E}" type="parTrans" cxnId="{817D23D2-E06B-4226-8060-7C2321CB32FF}">
      <dgm:prSet/>
      <dgm:spPr/>
      <dgm:t>
        <a:bodyPr/>
        <a:lstStyle/>
        <a:p>
          <a:endParaRPr lang="en-US"/>
        </a:p>
      </dgm:t>
    </dgm:pt>
    <dgm:pt modelId="{0F7A9D3E-8CF1-4E11-A1B0-D48B8CB93A2F}" type="sibTrans" cxnId="{817D23D2-E06B-4226-8060-7C2321CB32FF}">
      <dgm:prSet/>
      <dgm:spPr/>
      <dgm:t>
        <a:bodyPr/>
        <a:lstStyle/>
        <a:p>
          <a:endParaRPr lang="en-US"/>
        </a:p>
      </dgm:t>
    </dgm:pt>
    <dgm:pt modelId="{C240282B-B35C-45F9-AB76-EF579F8D827E}">
      <dgm:prSet phldrT="[Text]"/>
      <dgm:spPr/>
      <dgm:t>
        <a:bodyPr/>
        <a:lstStyle/>
        <a:p>
          <a:r>
            <a:rPr lang="en-US"/>
            <a:t>PG connects to IoT Hub on behalf of devices with their identity</a:t>
          </a:r>
        </a:p>
      </dgm:t>
    </dgm:pt>
    <dgm:pt modelId="{BD6D8C5C-387C-474A-9E33-C6AFB7DD1BEA}" type="parTrans" cxnId="{B5BF5702-D85F-4BB8-8747-738ABFE01E4C}">
      <dgm:prSet/>
      <dgm:spPr/>
      <dgm:t>
        <a:bodyPr/>
        <a:lstStyle/>
        <a:p>
          <a:endParaRPr lang="en-US"/>
        </a:p>
      </dgm:t>
    </dgm:pt>
    <dgm:pt modelId="{27172D3E-1EF7-494F-BA9F-38204D2CFED0}" type="sibTrans" cxnId="{B5BF5702-D85F-4BB8-8747-738ABFE01E4C}">
      <dgm:prSet/>
      <dgm:spPr/>
      <dgm:t>
        <a:bodyPr/>
        <a:lstStyle/>
        <a:p>
          <a:endParaRPr lang="en-US"/>
        </a:p>
      </dgm:t>
    </dgm:pt>
    <dgm:pt modelId="{683BD04D-3393-40D4-8502-E5EE16B58150}">
      <dgm:prSet phldrT="[Text]"/>
      <dgm:spPr/>
      <dgm:t>
        <a:bodyPr/>
        <a:lstStyle/>
        <a:p>
          <a:r>
            <a:rPr lang="en-US"/>
            <a:t>e.g., connected car </a:t>
          </a:r>
        </a:p>
      </dgm:t>
    </dgm:pt>
    <dgm:pt modelId="{16A7B09A-BF19-4603-8FBF-94BC0C8AB075}" type="parTrans" cxnId="{0D400AE9-CFC4-403D-98DA-A3A78CB1567F}">
      <dgm:prSet/>
      <dgm:spPr/>
      <dgm:t>
        <a:bodyPr/>
        <a:lstStyle/>
        <a:p>
          <a:endParaRPr lang="en-US"/>
        </a:p>
      </dgm:t>
    </dgm:pt>
    <dgm:pt modelId="{6DF3BC35-D426-4388-B21A-D5910EE3EB22}" type="sibTrans" cxnId="{0D400AE9-CFC4-403D-98DA-A3A78CB1567F}">
      <dgm:prSet/>
      <dgm:spPr/>
      <dgm:t>
        <a:bodyPr/>
        <a:lstStyle/>
        <a:p>
          <a:endParaRPr lang="en-US"/>
        </a:p>
      </dgm:t>
    </dgm:pt>
    <dgm:pt modelId="{6AF5512F-0766-4FAC-923A-064676E26C33}">
      <dgm:prSet phldrT="[Text]"/>
      <dgm:spPr/>
      <dgm:t>
        <a:bodyPr/>
        <a:lstStyle/>
        <a:p>
          <a:r>
            <a:rPr lang="en-US"/>
            <a:t>e.g., robots in factory floor</a:t>
          </a:r>
        </a:p>
      </dgm:t>
    </dgm:pt>
    <dgm:pt modelId="{E6D61405-3179-4E4D-A813-613BB8828983}" type="parTrans" cxnId="{AE2110E2-7BD1-4FFF-A0BB-894A3554AABB}">
      <dgm:prSet/>
      <dgm:spPr/>
      <dgm:t>
        <a:bodyPr/>
        <a:lstStyle/>
        <a:p>
          <a:endParaRPr lang="en-US"/>
        </a:p>
      </dgm:t>
    </dgm:pt>
    <dgm:pt modelId="{E9BE9DB1-6189-4963-8DB4-D3AA5170E93E}" type="sibTrans" cxnId="{AE2110E2-7BD1-4FFF-A0BB-894A3554AABB}">
      <dgm:prSet/>
      <dgm:spPr/>
      <dgm:t>
        <a:bodyPr/>
        <a:lstStyle/>
        <a:p>
          <a:endParaRPr lang="en-US"/>
        </a:p>
      </dgm:t>
    </dgm:pt>
    <dgm:pt modelId="{0FFE7264-8F96-44AA-BB77-23E3D705BD73}">
      <dgm:prSet phldrT="[Text]"/>
      <dgm:spPr/>
      <dgm:t>
        <a:bodyPr/>
        <a:lstStyle/>
        <a:p>
          <a:r>
            <a:rPr lang="en-US"/>
            <a:t>e.g., city street lights</a:t>
          </a:r>
        </a:p>
      </dgm:t>
    </dgm:pt>
    <dgm:pt modelId="{7CFA0A7A-23B4-49C1-AB7B-04EEBFF8DE93}" type="parTrans" cxnId="{93F0F680-DCFB-44C5-845D-DFFA82FC7964}">
      <dgm:prSet/>
      <dgm:spPr/>
      <dgm:t>
        <a:bodyPr/>
        <a:lstStyle/>
        <a:p>
          <a:endParaRPr lang="en-US"/>
        </a:p>
      </dgm:t>
    </dgm:pt>
    <dgm:pt modelId="{714BEF31-A166-4E97-9D6B-6D944BF036D0}" type="sibTrans" cxnId="{93F0F680-DCFB-44C5-845D-DFFA82FC7964}">
      <dgm:prSet/>
      <dgm:spPr/>
      <dgm:t>
        <a:bodyPr/>
        <a:lstStyle/>
        <a:p>
          <a:endParaRPr lang="en-US"/>
        </a:p>
      </dgm:t>
    </dgm:pt>
    <dgm:pt modelId="{4DC1BCE0-82D7-4948-9395-602A08B97915}">
      <dgm:prSet phldrT="[Text]"/>
      <dgm:spPr/>
      <dgm:t>
        <a:bodyPr/>
        <a:lstStyle/>
        <a:p>
          <a:r>
            <a:rPr lang="en-US"/>
            <a:t>Device talks our supported protocols</a:t>
          </a:r>
        </a:p>
      </dgm:t>
    </dgm:pt>
    <dgm:pt modelId="{965FE2E3-1795-4628-BA71-9738E83361FA}" type="parTrans" cxnId="{E9CD9E17-8C73-47A5-916A-90A88F51DB4A}">
      <dgm:prSet/>
      <dgm:spPr/>
      <dgm:t>
        <a:bodyPr/>
        <a:lstStyle/>
        <a:p>
          <a:endParaRPr lang="en-US"/>
        </a:p>
      </dgm:t>
    </dgm:pt>
    <dgm:pt modelId="{75E0D91D-FEFD-4DDC-B623-3958DD8AD921}" type="sibTrans" cxnId="{E9CD9E17-8C73-47A5-916A-90A88F51DB4A}">
      <dgm:prSet/>
      <dgm:spPr/>
      <dgm:t>
        <a:bodyPr/>
        <a:lstStyle/>
        <a:p>
          <a:endParaRPr lang="en-US"/>
        </a:p>
      </dgm:t>
    </dgm:pt>
    <dgm:pt modelId="{5C16F0F7-7931-467E-9318-B34E3FBB9DDF}">
      <dgm:prSet phldrT="[Text]"/>
      <dgm:spPr/>
      <dgm:t>
        <a:bodyPr/>
        <a:lstStyle/>
        <a:p>
          <a:r>
            <a:rPr lang="en-US"/>
            <a:t>Indirect through a field gateway</a:t>
          </a:r>
        </a:p>
      </dgm:t>
    </dgm:pt>
    <dgm:pt modelId="{DCB6D5BE-9370-45C5-B4DE-A5075B20F7EB}" type="parTrans" cxnId="{DBC7766D-BBFE-4E0C-9796-1625DDA5B197}">
      <dgm:prSet/>
      <dgm:spPr/>
      <dgm:t>
        <a:bodyPr/>
        <a:lstStyle/>
        <a:p>
          <a:endParaRPr lang="en-US"/>
        </a:p>
      </dgm:t>
    </dgm:pt>
    <dgm:pt modelId="{2D40FB49-6D32-4741-8D71-5E3D31734B5B}" type="sibTrans" cxnId="{DBC7766D-BBFE-4E0C-9796-1625DDA5B197}">
      <dgm:prSet/>
      <dgm:spPr/>
      <dgm:t>
        <a:bodyPr/>
        <a:lstStyle/>
        <a:p>
          <a:endParaRPr lang="en-US"/>
        </a:p>
      </dgm:t>
    </dgm:pt>
    <dgm:pt modelId="{E8B6844F-A27D-4E91-A675-7150E96C0D82}">
      <dgm:prSet phldrT="[Text]"/>
      <dgm:spPr/>
      <dgm:t>
        <a:bodyPr/>
        <a:lstStyle/>
        <a:p>
          <a:r>
            <a:rPr lang="en-US"/>
            <a:t>Devices don’t know any of our supported protocols</a:t>
          </a:r>
        </a:p>
      </dgm:t>
    </dgm:pt>
    <dgm:pt modelId="{FACCA755-7596-45F2-B0B7-4CB32A9C93F3}" type="parTrans" cxnId="{5DA41582-5655-4ADA-BE5F-DC6EC3ED9A4A}">
      <dgm:prSet/>
      <dgm:spPr/>
      <dgm:t>
        <a:bodyPr/>
        <a:lstStyle/>
        <a:p>
          <a:endParaRPr lang="en-US"/>
        </a:p>
      </dgm:t>
    </dgm:pt>
    <dgm:pt modelId="{B358CBFA-B390-4827-9B1D-3C964565CC43}" type="sibTrans" cxnId="{5DA41582-5655-4ADA-BE5F-DC6EC3ED9A4A}">
      <dgm:prSet/>
      <dgm:spPr/>
      <dgm:t>
        <a:bodyPr/>
        <a:lstStyle/>
        <a:p>
          <a:endParaRPr lang="en-US"/>
        </a:p>
      </dgm:t>
    </dgm:pt>
    <dgm:pt modelId="{DFC42B90-4F98-423B-9F07-53D226EF154E}">
      <dgm:prSet phldrT="[Text]"/>
      <dgm:spPr/>
      <dgm:t>
        <a:bodyPr/>
        <a:lstStyle/>
        <a:p>
          <a:r>
            <a:rPr lang="en-US"/>
            <a:t>Devices connect to a field gateway that supports our protocols</a:t>
          </a:r>
        </a:p>
      </dgm:t>
    </dgm:pt>
    <dgm:pt modelId="{D81111D4-52FE-4D99-83B5-A5ADEBF53844}" type="parTrans" cxnId="{CB8C137A-E4E3-4401-B6EE-3C967A0B8AFB}">
      <dgm:prSet/>
      <dgm:spPr/>
      <dgm:t>
        <a:bodyPr/>
        <a:lstStyle/>
        <a:p>
          <a:endParaRPr lang="en-US"/>
        </a:p>
      </dgm:t>
    </dgm:pt>
    <dgm:pt modelId="{0BB9F263-8155-46E8-B6E2-DFAC483F6033}" type="sibTrans" cxnId="{CB8C137A-E4E3-4401-B6EE-3C967A0B8AFB}">
      <dgm:prSet/>
      <dgm:spPr/>
      <dgm:t>
        <a:bodyPr/>
        <a:lstStyle/>
        <a:p>
          <a:endParaRPr lang="en-US"/>
        </a:p>
      </dgm:t>
    </dgm:pt>
    <dgm:pt modelId="{7E5AB06B-7E61-420F-BBFB-9FF49DDBB6ED}">
      <dgm:prSet phldrT="[Text]"/>
      <dgm:spPr/>
      <dgm:t>
        <a:bodyPr/>
        <a:lstStyle/>
        <a:p>
          <a:r>
            <a:rPr lang="en-US"/>
            <a:t>e.g., soil moisture sensors on a farm</a:t>
          </a:r>
        </a:p>
      </dgm:t>
    </dgm:pt>
    <dgm:pt modelId="{37BB21E0-72A8-4B67-A91A-20FE381A89DE}" type="parTrans" cxnId="{380A18D5-6353-46A5-A0C5-9F0FE8ED2449}">
      <dgm:prSet/>
      <dgm:spPr/>
      <dgm:t>
        <a:bodyPr/>
        <a:lstStyle/>
        <a:p>
          <a:endParaRPr lang="en-US"/>
        </a:p>
      </dgm:t>
    </dgm:pt>
    <dgm:pt modelId="{D11F0FC6-0C70-459E-B22F-A0DE7660797B}" type="sibTrans" cxnId="{380A18D5-6353-46A5-A0C5-9F0FE8ED2449}">
      <dgm:prSet/>
      <dgm:spPr/>
      <dgm:t>
        <a:bodyPr/>
        <a:lstStyle/>
        <a:p>
          <a:endParaRPr lang="en-US"/>
        </a:p>
      </dgm:t>
    </dgm:pt>
    <dgm:pt modelId="{6FDABE3F-E820-4100-A7BF-37193583D217}">
      <dgm:prSet phldrT="[Text]"/>
      <dgm:spPr/>
      <dgm:t>
        <a:bodyPr/>
        <a:lstStyle/>
        <a:p>
          <a:r>
            <a:rPr lang="en-US"/>
            <a:t>e.g., deploy image detection for boxes on a conveyor belt</a:t>
          </a:r>
        </a:p>
      </dgm:t>
    </dgm:pt>
    <dgm:pt modelId="{41D881BF-E000-4BA8-96C1-0EC322BE4DFF}" type="parTrans" cxnId="{CF13AE69-8C7C-4FE3-95C6-213266E52C8B}">
      <dgm:prSet/>
      <dgm:spPr/>
      <dgm:t>
        <a:bodyPr/>
        <a:lstStyle/>
        <a:p>
          <a:endParaRPr lang="en-US"/>
        </a:p>
      </dgm:t>
    </dgm:pt>
    <dgm:pt modelId="{ED8BFDEF-DECF-4210-BFE1-1150E72FB65F}" type="sibTrans" cxnId="{CF13AE69-8C7C-4FE3-95C6-213266E52C8B}">
      <dgm:prSet/>
      <dgm:spPr/>
      <dgm:t>
        <a:bodyPr/>
        <a:lstStyle/>
        <a:p>
          <a:endParaRPr lang="en-US"/>
        </a:p>
      </dgm:t>
    </dgm:pt>
    <dgm:pt modelId="{DB5BA07D-2841-4A82-806F-7275348FD006}">
      <dgm:prSet phldrT="[Text]"/>
      <dgm:spPr/>
      <dgm:t>
        <a:bodyPr/>
        <a:lstStyle/>
        <a:p>
          <a:r>
            <a:rPr lang="en-US"/>
            <a:t>Usually involves high-powered devices</a:t>
          </a:r>
        </a:p>
      </dgm:t>
    </dgm:pt>
    <dgm:pt modelId="{2CF35484-2028-4BE1-8EA6-03519E34EA76}" type="parTrans" cxnId="{86D79D7D-8AFD-4EAF-8703-CA08C40B08C2}">
      <dgm:prSet/>
      <dgm:spPr/>
      <dgm:t>
        <a:bodyPr/>
        <a:lstStyle/>
        <a:p>
          <a:endParaRPr lang="en-US"/>
        </a:p>
      </dgm:t>
    </dgm:pt>
    <dgm:pt modelId="{5DAEEE46-109D-41D0-BDB8-EC8946D8F36C}" type="sibTrans" cxnId="{86D79D7D-8AFD-4EAF-8703-CA08C40B08C2}">
      <dgm:prSet/>
      <dgm:spPr/>
      <dgm:t>
        <a:bodyPr/>
        <a:lstStyle/>
        <a:p>
          <a:endParaRPr lang="en-US"/>
        </a:p>
      </dgm:t>
    </dgm:pt>
    <dgm:pt modelId="{3FFC330C-4CB3-46C7-BB3E-A65C6A8E4D5C}" type="pres">
      <dgm:prSet presAssocID="{FBB535A4-DA47-49AB-A01A-CFD3B8BDA142}" presName="Name0" presStyleCnt="0">
        <dgm:presLayoutVars>
          <dgm:dir/>
          <dgm:resizeHandles val="exact"/>
        </dgm:presLayoutVars>
      </dgm:prSet>
      <dgm:spPr/>
    </dgm:pt>
    <dgm:pt modelId="{9A20CB1E-BE7E-4C4D-945E-2B51AB2BD7CF}" type="pres">
      <dgm:prSet presAssocID="{FBB535A4-DA47-49AB-A01A-CFD3B8BDA142}" presName="bkgdShp" presStyleLbl="alignAccFollowNode1" presStyleIdx="0" presStyleCnt="1"/>
      <dgm:spPr/>
    </dgm:pt>
    <dgm:pt modelId="{6DD276F1-485D-47F8-AC43-4607E9B7385D}" type="pres">
      <dgm:prSet presAssocID="{FBB535A4-DA47-49AB-A01A-CFD3B8BDA142}" presName="linComp" presStyleCnt="0"/>
      <dgm:spPr/>
    </dgm:pt>
    <dgm:pt modelId="{ABF42A39-C2E0-4564-A7E2-9B65E6E4D27F}" type="pres">
      <dgm:prSet presAssocID="{34F6A458-E789-42F0-A07D-F96DD0E946DD}" presName="compNode" presStyleCnt="0"/>
      <dgm:spPr/>
    </dgm:pt>
    <dgm:pt modelId="{D65C5DE3-06E0-4FD4-9FDA-F846F3B8F8B7}" type="pres">
      <dgm:prSet presAssocID="{34F6A458-E789-42F0-A07D-F96DD0E946DD}" presName="node" presStyleLbl="node1" presStyleIdx="0" presStyleCnt="5">
        <dgm:presLayoutVars>
          <dgm:bulletEnabled val="1"/>
        </dgm:presLayoutVars>
      </dgm:prSet>
      <dgm:spPr/>
    </dgm:pt>
    <dgm:pt modelId="{C34E3ACA-A495-4849-9882-7D876941AFAD}" type="pres">
      <dgm:prSet presAssocID="{34F6A458-E789-42F0-A07D-F96DD0E946DD}" presName="invisiNode" presStyleLbl="node1" presStyleIdx="0" presStyleCnt="5"/>
      <dgm:spPr/>
    </dgm:pt>
    <dgm:pt modelId="{EE9801D3-D7E1-455F-A6F4-D1FF3FFC72CE}" type="pres">
      <dgm:prSet presAssocID="{34F6A458-E789-42F0-A07D-F96DD0E946DD}" presName="imagNode" presStyleLbl="fgImgPlace1" presStyleIdx="0" presStyleCnt="5"/>
      <dgm:spPr/>
    </dgm:pt>
    <dgm:pt modelId="{FD85B4F3-0747-4E71-B54E-731BDA1D6C7B}" type="pres">
      <dgm:prSet presAssocID="{1B614427-AB19-49AB-8476-4F4B5F475732}" presName="sibTrans" presStyleLbl="sibTrans2D1" presStyleIdx="0" presStyleCnt="0"/>
      <dgm:spPr/>
    </dgm:pt>
    <dgm:pt modelId="{72B6D7B4-F1F3-4B54-95B1-04281586BD4A}" type="pres">
      <dgm:prSet presAssocID="{5C16F0F7-7931-467E-9318-B34E3FBB9DDF}" presName="compNode" presStyleCnt="0"/>
      <dgm:spPr/>
    </dgm:pt>
    <dgm:pt modelId="{4C357012-6B49-489B-BB83-21D6C536956C}" type="pres">
      <dgm:prSet presAssocID="{5C16F0F7-7931-467E-9318-B34E3FBB9DDF}" presName="node" presStyleLbl="node1" presStyleIdx="1" presStyleCnt="5">
        <dgm:presLayoutVars>
          <dgm:bulletEnabled val="1"/>
        </dgm:presLayoutVars>
      </dgm:prSet>
      <dgm:spPr/>
    </dgm:pt>
    <dgm:pt modelId="{E45591B6-24AF-4277-9F00-630FE8C7012E}" type="pres">
      <dgm:prSet presAssocID="{5C16F0F7-7931-467E-9318-B34E3FBB9DDF}" presName="invisiNode" presStyleLbl="node1" presStyleIdx="1" presStyleCnt="5"/>
      <dgm:spPr/>
    </dgm:pt>
    <dgm:pt modelId="{FF24CE1D-3526-4B7C-A038-175B6CEA23BD}" type="pres">
      <dgm:prSet presAssocID="{5C16F0F7-7931-467E-9318-B34E3FBB9DDF}" presName="imagNode" presStyleLbl="fgImgPlace1" presStyleIdx="1" presStyleCnt="5"/>
      <dgm:spPr/>
    </dgm:pt>
    <dgm:pt modelId="{23A99EF2-0603-445C-92ED-3FF6C14527EA}" type="pres">
      <dgm:prSet presAssocID="{2D40FB49-6D32-4741-8D71-5E3D31734B5B}" presName="sibTrans" presStyleLbl="sibTrans2D1" presStyleIdx="0" presStyleCnt="0"/>
      <dgm:spPr/>
    </dgm:pt>
    <dgm:pt modelId="{4CBE49EB-CAA6-467E-8CE9-869A04C1EB7B}" type="pres">
      <dgm:prSet presAssocID="{8B4B87DA-CBD2-4FA8-86CF-6AE967BD6C91}" presName="compNode" presStyleCnt="0"/>
      <dgm:spPr/>
    </dgm:pt>
    <dgm:pt modelId="{ECAE6AFB-63C6-4D2F-81BA-26A33A77848D}" type="pres">
      <dgm:prSet presAssocID="{8B4B87DA-CBD2-4FA8-86CF-6AE967BD6C91}" presName="node" presStyleLbl="node1" presStyleIdx="2" presStyleCnt="5">
        <dgm:presLayoutVars>
          <dgm:bulletEnabled val="1"/>
        </dgm:presLayoutVars>
      </dgm:prSet>
      <dgm:spPr/>
    </dgm:pt>
    <dgm:pt modelId="{B380A483-477D-4B2E-BC5D-2CBE16E7E82E}" type="pres">
      <dgm:prSet presAssocID="{8B4B87DA-CBD2-4FA8-86CF-6AE967BD6C91}" presName="invisiNode" presStyleLbl="node1" presStyleIdx="2" presStyleCnt="5"/>
      <dgm:spPr/>
    </dgm:pt>
    <dgm:pt modelId="{4184E3C6-83ED-4844-B153-78AB161FD288}" type="pres">
      <dgm:prSet presAssocID="{8B4B87DA-CBD2-4FA8-86CF-6AE967BD6C91}" presName="imagNode" presStyleLbl="fgImgPlace1" presStyleIdx="2" presStyleCnt="5"/>
      <dgm:spPr/>
    </dgm:pt>
    <dgm:pt modelId="{B8BABB63-AB08-41BF-B90F-350E10031208}" type="pres">
      <dgm:prSet presAssocID="{3D97940C-BEEF-4363-86D2-A32D1157437A}" presName="sibTrans" presStyleLbl="sibTrans2D1" presStyleIdx="0" presStyleCnt="0"/>
      <dgm:spPr/>
    </dgm:pt>
    <dgm:pt modelId="{F124E6AA-E7F6-4626-AB59-4D71F50C35E7}" type="pres">
      <dgm:prSet presAssocID="{538C5CE8-F4F6-4923-81CB-AD4970537792}" presName="compNode" presStyleCnt="0"/>
      <dgm:spPr/>
    </dgm:pt>
    <dgm:pt modelId="{30FCDAFC-C565-4FF0-A09E-3E9068BE906A}" type="pres">
      <dgm:prSet presAssocID="{538C5CE8-F4F6-4923-81CB-AD4970537792}" presName="node" presStyleLbl="node1" presStyleIdx="3" presStyleCnt="5">
        <dgm:presLayoutVars>
          <dgm:bulletEnabled val="1"/>
        </dgm:presLayoutVars>
      </dgm:prSet>
      <dgm:spPr/>
    </dgm:pt>
    <dgm:pt modelId="{3448608E-AFCB-4D30-83BF-3B368AC5B5F0}" type="pres">
      <dgm:prSet presAssocID="{538C5CE8-F4F6-4923-81CB-AD4970537792}" presName="invisiNode" presStyleLbl="node1" presStyleIdx="3" presStyleCnt="5"/>
      <dgm:spPr/>
    </dgm:pt>
    <dgm:pt modelId="{8EA125AD-7C05-4FCD-9F90-EE9C6E3CDBA0}" type="pres">
      <dgm:prSet presAssocID="{538C5CE8-F4F6-4923-81CB-AD4970537792}" presName="imagNode" presStyleLbl="fgImgPlace1" presStyleIdx="3" presStyleCnt="5"/>
      <dgm:spPr/>
    </dgm:pt>
    <dgm:pt modelId="{321A3EC8-19C4-4B5A-8C7A-5B4C8780F549}" type="pres">
      <dgm:prSet presAssocID="{B2ADDBDC-7892-4110-9DA5-00BCD3E98D6D}" presName="sibTrans" presStyleLbl="sibTrans2D1" presStyleIdx="0" presStyleCnt="0"/>
      <dgm:spPr/>
    </dgm:pt>
    <dgm:pt modelId="{66F727D1-4666-49FD-9297-00DE7D59CA3B}" type="pres">
      <dgm:prSet presAssocID="{56ABB444-ACD8-4DC8-92BC-AAC4D2FFC965}" presName="compNode" presStyleCnt="0"/>
      <dgm:spPr/>
    </dgm:pt>
    <dgm:pt modelId="{5D7DF59A-5DB8-464A-8702-ECD08295E854}" type="pres">
      <dgm:prSet presAssocID="{56ABB444-ACD8-4DC8-92BC-AAC4D2FFC965}" presName="node" presStyleLbl="node1" presStyleIdx="4" presStyleCnt="5">
        <dgm:presLayoutVars>
          <dgm:bulletEnabled val="1"/>
        </dgm:presLayoutVars>
      </dgm:prSet>
      <dgm:spPr/>
    </dgm:pt>
    <dgm:pt modelId="{60963254-D393-4B23-B21C-7F71B8D4E387}" type="pres">
      <dgm:prSet presAssocID="{56ABB444-ACD8-4DC8-92BC-AAC4D2FFC965}" presName="invisiNode" presStyleLbl="node1" presStyleIdx="4" presStyleCnt="5"/>
      <dgm:spPr/>
    </dgm:pt>
    <dgm:pt modelId="{6431613F-18B6-4FC4-A03A-1A66D4B14996}" type="pres">
      <dgm:prSet presAssocID="{56ABB444-ACD8-4DC8-92BC-AAC4D2FFC965}" presName="imagNode" presStyleLbl="fgImgPlace1" presStyleIdx="4" presStyleCnt="5"/>
      <dgm:spPr/>
    </dgm:pt>
  </dgm:ptLst>
  <dgm:cxnLst>
    <dgm:cxn modelId="{B5BF5702-D85F-4BB8-8747-738ABFE01E4C}" srcId="{538C5CE8-F4F6-4923-81CB-AD4970537792}" destId="{C240282B-B35C-45F9-AB76-EF579F8D827E}" srcOrd="1" destOrd="0" parTransId="{BD6D8C5C-387C-474A-9E33-C6AFB7DD1BEA}" sibTransId="{27172D3E-1EF7-494F-BA9F-38204D2CFED0}"/>
    <dgm:cxn modelId="{C00C8B0F-6A97-44AD-9A08-5167A76F1378}" type="presOf" srcId="{683BD04D-3393-40D4-8502-E5EE16B58150}" destId="{30FCDAFC-C565-4FF0-A09E-3E9068BE906A}" srcOrd="0" destOrd="3" presId="urn:microsoft.com/office/officeart/2005/8/layout/pList2"/>
    <dgm:cxn modelId="{23DC8410-E450-4BBC-AC1B-E5AA51BEB685}" type="presOf" srcId="{2D40FB49-6D32-4741-8D71-5E3D31734B5B}" destId="{23A99EF2-0603-445C-92ED-3FF6C14527EA}" srcOrd="0" destOrd="0" presId="urn:microsoft.com/office/officeart/2005/8/layout/pList2"/>
    <dgm:cxn modelId="{E9CD9E17-8C73-47A5-916A-90A88F51DB4A}" srcId="{34F6A458-E789-42F0-A07D-F96DD0E946DD}" destId="{4DC1BCE0-82D7-4948-9395-602A08B97915}" srcOrd="1" destOrd="0" parTransId="{965FE2E3-1795-4628-BA71-9738E83361FA}" sibTransId="{75E0D91D-FEFD-4DDC-B623-3958DD8AD921}"/>
    <dgm:cxn modelId="{382B4D1B-015A-4E25-ADD6-F3818AF729EC}" type="presOf" srcId="{7E5AB06B-7E61-420F-BBFB-9FF49DDBB6ED}" destId="{4C357012-6B49-489B-BB83-21D6C536956C}" srcOrd="0" destOrd="3" presId="urn:microsoft.com/office/officeart/2005/8/layout/pList2"/>
    <dgm:cxn modelId="{A6FDDE38-7221-4A75-B330-B0ADD51D5006}" type="presOf" srcId="{C240282B-B35C-45F9-AB76-EF579F8D827E}" destId="{30FCDAFC-C565-4FF0-A09E-3E9068BE906A}" srcOrd="0" destOrd="2" presId="urn:microsoft.com/office/officeart/2005/8/layout/pList2"/>
    <dgm:cxn modelId="{A0EBA640-576F-465B-B145-1202F2C0108B}" type="presOf" srcId="{0FFE7264-8F96-44AA-BB77-23E3D705BD73}" destId="{D65C5DE3-06E0-4FD4-9FDA-F846F3B8F8B7}" srcOrd="0" destOrd="3" presId="urn:microsoft.com/office/officeart/2005/8/layout/pList2"/>
    <dgm:cxn modelId="{61C4245B-4F72-4FC4-877C-6CEC41A2DDCE}" type="presOf" srcId="{B2ADDBDC-7892-4110-9DA5-00BCD3E98D6D}" destId="{321A3EC8-19C4-4B5A-8C7A-5B4C8780F549}" srcOrd="0" destOrd="0" presId="urn:microsoft.com/office/officeart/2005/8/layout/pList2"/>
    <dgm:cxn modelId="{6AF72F42-3585-4E06-9BF8-65176B3021B9}" srcId="{8B4B87DA-CBD2-4FA8-86CF-6AE967BD6C91}" destId="{F1933A96-22C0-41B5-B80D-354E5175A940}" srcOrd="1" destOrd="0" parTransId="{93D8BD0D-9981-40FE-B3CD-DF05513C6564}" sibTransId="{FB846F90-DA9D-46B4-9066-509BE7602DD4}"/>
    <dgm:cxn modelId="{47421C63-6C69-45FB-AFF9-21ED08A8B243}" type="presOf" srcId="{42AA84C7-1D0D-4ED9-B5F5-6DB7CA900D9E}" destId="{5D7DF59A-5DB8-464A-8702-ECD08295E854}" srcOrd="0" destOrd="1" presId="urn:microsoft.com/office/officeart/2005/8/layout/pList2"/>
    <dgm:cxn modelId="{70BC5F43-2A90-413D-8E74-735E50DA876C}" type="presOf" srcId="{8B4B87DA-CBD2-4FA8-86CF-6AE967BD6C91}" destId="{ECAE6AFB-63C6-4D2F-81BA-26A33A77848D}" srcOrd="0" destOrd="0" presId="urn:microsoft.com/office/officeart/2005/8/layout/pList2"/>
    <dgm:cxn modelId="{6EE27146-6DC9-477B-8FAD-22F1152E82A8}" srcId="{34F6A458-E789-42F0-A07D-F96DD0E946DD}" destId="{CB1BC799-EF23-4ED8-99AF-6A83284304D5}" srcOrd="0" destOrd="0" parTransId="{10C17C9E-717F-4ABA-B016-86CE19F79A35}" sibTransId="{8133DA8A-B59B-49F9-B2AD-6383806D4C3E}"/>
    <dgm:cxn modelId="{CF13AE69-8C7C-4FE3-95C6-213266E52C8B}" srcId="{56ABB444-ACD8-4DC8-92BC-AAC4D2FFC965}" destId="{6FDABE3F-E820-4100-A7BF-37193583D217}" srcOrd="3" destOrd="0" parTransId="{41D881BF-E000-4BA8-96C1-0EC322BE4DFF}" sibTransId="{ED8BFDEF-DECF-4210-BFE1-1150E72FB65F}"/>
    <dgm:cxn modelId="{F8C5614C-F932-49E1-839B-B0EB9686B328}" type="presOf" srcId="{E8B6844F-A27D-4E91-A675-7150E96C0D82}" destId="{4C357012-6B49-489B-BB83-21D6C536956C}" srcOrd="0" destOrd="1" presId="urn:microsoft.com/office/officeart/2005/8/layout/pList2"/>
    <dgm:cxn modelId="{FCB7066D-1443-4323-B53B-E1F7328BC529}" type="presOf" srcId="{81627679-8233-432F-AE70-1F9648C3E905}" destId="{30FCDAFC-C565-4FF0-A09E-3E9068BE906A}" srcOrd="0" destOrd="1" presId="urn:microsoft.com/office/officeart/2005/8/layout/pList2"/>
    <dgm:cxn modelId="{DBC7766D-BBFE-4E0C-9796-1625DDA5B197}" srcId="{FBB535A4-DA47-49AB-A01A-CFD3B8BDA142}" destId="{5C16F0F7-7931-467E-9318-B34E3FBB9DDF}" srcOrd="1" destOrd="0" parTransId="{DCB6D5BE-9370-45C5-B4DE-A5075B20F7EB}" sibTransId="{2D40FB49-6D32-4741-8D71-5E3D31734B5B}"/>
    <dgm:cxn modelId="{6D4EE06E-BC61-4565-A89F-447A52C9F04C}" type="presOf" srcId="{FBB535A4-DA47-49AB-A01A-CFD3B8BDA142}" destId="{3FFC330C-4CB3-46C7-BB3E-A65C6A8E4D5C}" srcOrd="0" destOrd="0" presId="urn:microsoft.com/office/officeart/2005/8/layout/pList2"/>
    <dgm:cxn modelId="{1B69A16F-2565-4A4C-BD5F-05667507C256}" type="presOf" srcId="{56ABB444-ACD8-4DC8-92BC-AAC4D2FFC965}" destId="{5D7DF59A-5DB8-464A-8702-ECD08295E854}" srcOrd="0" destOrd="0" presId="urn:microsoft.com/office/officeart/2005/8/layout/pList2"/>
    <dgm:cxn modelId="{1F050651-549E-41F6-A761-033444DC4A5D}" type="presOf" srcId="{496DCFBA-41F6-4929-A5CE-0CB5D7EAD1CB}" destId="{5D7DF59A-5DB8-464A-8702-ECD08295E854}" srcOrd="0" destOrd="2" presId="urn:microsoft.com/office/officeart/2005/8/layout/pList2"/>
    <dgm:cxn modelId="{93FC3056-AD78-44D3-BF2F-4CF3CC0CBA55}" srcId="{538C5CE8-F4F6-4923-81CB-AD4970537792}" destId="{81627679-8233-432F-AE70-1F9648C3E905}" srcOrd="0" destOrd="0" parTransId="{AB702EAB-5A0C-436B-8206-FA1134C3D1B6}" sibTransId="{3A433908-FD29-4E21-A10E-6BCBA143B654}"/>
    <dgm:cxn modelId="{CB8C137A-E4E3-4401-B6EE-3C967A0B8AFB}" srcId="{5C16F0F7-7931-467E-9318-B34E3FBB9DDF}" destId="{DFC42B90-4F98-423B-9F07-53D226EF154E}" srcOrd="1" destOrd="0" parTransId="{D81111D4-52FE-4D99-83B5-A5ADEBF53844}" sibTransId="{0BB9F263-8155-46E8-B6E2-DFAC483F6033}"/>
    <dgm:cxn modelId="{B81BAD7B-19F6-4BED-86AB-5519CF08832D}" type="presOf" srcId="{6FDABE3F-E820-4100-A7BF-37193583D217}" destId="{5D7DF59A-5DB8-464A-8702-ECD08295E854}" srcOrd="0" destOrd="4" presId="urn:microsoft.com/office/officeart/2005/8/layout/pList2"/>
    <dgm:cxn modelId="{86D79D7D-8AFD-4EAF-8703-CA08C40B08C2}" srcId="{56ABB444-ACD8-4DC8-92BC-AAC4D2FFC965}" destId="{DB5BA07D-2841-4A82-806F-7275348FD006}" srcOrd="2" destOrd="0" parTransId="{2CF35484-2028-4BE1-8EA6-03519E34EA76}" sibTransId="{5DAEEE46-109D-41D0-BDB8-EC8946D8F36C}"/>
    <dgm:cxn modelId="{1CFD6880-7323-40A7-A4ED-076B732F2C78}" srcId="{FBB535A4-DA47-49AB-A01A-CFD3B8BDA142}" destId="{56ABB444-ACD8-4DC8-92BC-AAC4D2FFC965}" srcOrd="4" destOrd="0" parTransId="{2DDE50A1-4E8A-4CA9-8D7B-524934D46E3B}" sibTransId="{5F1ED569-9E80-4F86-A719-6167E76054E5}"/>
    <dgm:cxn modelId="{93F0F680-DCFB-44C5-845D-DFFA82FC7964}" srcId="{34F6A458-E789-42F0-A07D-F96DD0E946DD}" destId="{0FFE7264-8F96-44AA-BB77-23E3D705BD73}" srcOrd="2" destOrd="0" parTransId="{7CFA0A7A-23B4-49C1-AB7B-04EEBFF8DE93}" sibTransId="{714BEF31-A166-4E97-9D6B-6D944BF036D0}"/>
    <dgm:cxn modelId="{9B1E3F81-C689-408E-AC15-1CC979482B97}" srcId="{FBB535A4-DA47-49AB-A01A-CFD3B8BDA142}" destId="{34F6A458-E789-42F0-A07D-F96DD0E946DD}" srcOrd="0" destOrd="0" parTransId="{E0F42957-739B-4329-834B-B6004AABA0AD}" sibTransId="{1B614427-AB19-49AB-8476-4F4B5F475732}"/>
    <dgm:cxn modelId="{5DA41582-5655-4ADA-BE5F-DC6EC3ED9A4A}" srcId="{5C16F0F7-7931-467E-9318-B34E3FBB9DDF}" destId="{E8B6844F-A27D-4E91-A675-7150E96C0D82}" srcOrd="0" destOrd="0" parTransId="{FACCA755-7596-45F2-B0B7-4CB32A9C93F3}" sibTransId="{B358CBFA-B390-4827-9B1D-3C964565CC43}"/>
    <dgm:cxn modelId="{5BDECF82-6D67-4734-AAEA-040658198F37}" srcId="{8B4B87DA-CBD2-4FA8-86CF-6AE967BD6C91}" destId="{F3804ACC-05A9-4D2F-847A-BF1DDD12113F}" srcOrd="0" destOrd="0" parTransId="{C27A71CD-B2A1-4F17-B429-748EAC182D4C}" sibTransId="{A0EE9B32-481C-45F2-9D20-86C2989A0C16}"/>
    <dgm:cxn modelId="{E71A0099-EC58-4AC5-BE2E-4EAD21BFD4B0}" type="presOf" srcId="{3D97940C-BEEF-4363-86D2-A32D1157437A}" destId="{B8BABB63-AB08-41BF-B90F-350E10031208}" srcOrd="0" destOrd="0" presId="urn:microsoft.com/office/officeart/2005/8/layout/pList2"/>
    <dgm:cxn modelId="{FC1CD49D-D2BE-41C3-9474-A92EC938B3B4}" type="presOf" srcId="{5C16F0F7-7931-467E-9318-B34E3FBB9DDF}" destId="{4C357012-6B49-489B-BB83-21D6C536956C}" srcOrd="0" destOrd="0" presId="urn:microsoft.com/office/officeart/2005/8/layout/pList2"/>
    <dgm:cxn modelId="{F7CF34A7-814B-490B-B68F-BDD7E8DE5CAD}" type="presOf" srcId="{4DC1BCE0-82D7-4948-9395-602A08B97915}" destId="{D65C5DE3-06E0-4FD4-9FDA-F846F3B8F8B7}" srcOrd="0" destOrd="2" presId="urn:microsoft.com/office/officeart/2005/8/layout/pList2"/>
    <dgm:cxn modelId="{BCC0ADAD-7810-4FE0-A4F0-04DF100CD286}" srcId="{FBB535A4-DA47-49AB-A01A-CFD3B8BDA142}" destId="{538C5CE8-F4F6-4923-81CB-AD4970537792}" srcOrd="3" destOrd="0" parTransId="{331485D1-1E1F-4C67-8BD6-6386CBC55514}" sibTransId="{B2ADDBDC-7892-4110-9DA5-00BCD3E98D6D}"/>
    <dgm:cxn modelId="{659738AF-F32F-41E5-B8B7-C9844C16E258}" srcId="{FBB535A4-DA47-49AB-A01A-CFD3B8BDA142}" destId="{8B4B87DA-CBD2-4FA8-86CF-6AE967BD6C91}" srcOrd="2" destOrd="0" parTransId="{3EEF501E-5108-40FF-B6F7-DA5284E1774F}" sibTransId="{3D97940C-BEEF-4363-86D2-A32D1157437A}"/>
    <dgm:cxn modelId="{2F81C0BB-4BB2-45C9-8905-5DBE4A5847F2}" type="presOf" srcId="{F1933A96-22C0-41B5-B80D-354E5175A940}" destId="{ECAE6AFB-63C6-4D2F-81BA-26A33A77848D}" srcOrd="0" destOrd="2" presId="urn:microsoft.com/office/officeart/2005/8/layout/pList2"/>
    <dgm:cxn modelId="{F8DC12BF-ACF8-4201-934F-D2B39F707DE3}" type="presOf" srcId="{DB5BA07D-2841-4A82-806F-7275348FD006}" destId="{5D7DF59A-5DB8-464A-8702-ECD08295E854}" srcOrd="0" destOrd="3" presId="urn:microsoft.com/office/officeart/2005/8/layout/pList2"/>
    <dgm:cxn modelId="{72822BCB-5E7A-41DC-A50E-9D13FE361370}" type="presOf" srcId="{1B614427-AB19-49AB-8476-4F4B5F475732}" destId="{FD85B4F3-0747-4E71-B54E-731BDA1D6C7B}" srcOrd="0" destOrd="0" presId="urn:microsoft.com/office/officeart/2005/8/layout/pList2"/>
    <dgm:cxn modelId="{D370F0CF-14D7-45D6-BC00-77B4B97549BE}" type="presOf" srcId="{F3804ACC-05A9-4D2F-847A-BF1DDD12113F}" destId="{ECAE6AFB-63C6-4D2F-81BA-26A33A77848D}" srcOrd="0" destOrd="1" presId="urn:microsoft.com/office/officeart/2005/8/layout/pList2"/>
    <dgm:cxn modelId="{817D23D2-E06B-4226-8060-7C2321CB32FF}" srcId="{56ABB444-ACD8-4DC8-92BC-AAC4D2FFC965}" destId="{496DCFBA-41F6-4929-A5CE-0CB5D7EAD1CB}" srcOrd="1" destOrd="0" parTransId="{630D1441-C24C-4180-AD30-DA9B4777957E}" sibTransId="{0F7A9D3E-8CF1-4E11-A1B0-D48B8CB93A2F}"/>
    <dgm:cxn modelId="{380A18D5-6353-46A5-A0C5-9F0FE8ED2449}" srcId="{5C16F0F7-7931-467E-9318-B34E3FBB9DDF}" destId="{7E5AB06B-7E61-420F-BBFB-9FF49DDBB6ED}" srcOrd="2" destOrd="0" parTransId="{37BB21E0-72A8-4B67-A91A-20FE381A89DE}" sibTransId="{D11F0FC6-0C70-459E-B22F-A0DE7660797B}"/>
    <dgm:cxn modelId="{74D364D5-0DC5-4AC3-B6B3-9A1037B54929}" type="presOf" srcId="{538C5CE8-F4F6-4923-81CB-AD4970537792}" destId="{30FCDAFC-C565-4FF0-A09E-3E9068BE906A}" srcOrd="0" destOrd="0" presId="urn:microsoft.com/office/officeart/2005/8/layout/pList2"/>
    <dgm:cxn modelId="{FDEE92DB-E208-4654-91F0-7A119EF7EFDD}" type="presOf" srcId="{34F6A458-E789-42F0-A07D-F96DD0E946DD}" destId="{D65C5DE3-06E0-4FD4-9FDA-F846F3B8F8B7}" srcOrd="0" destOrd="0" presId="urn:microsoft.com/office/officeart/2005/8/layout/pList2"/>
    <dgm:cxn modelId="{4B6095DB-F7AD-4DEA-ABC7-CE8B4F71D06A}" type="presOf" srcId="{DFC42B90-4F98-423B-9F07-53D226EF154E}" destId="{4C357012-6B49-489B-BB83-21D6C536956C}" srcOrd="0" destOrd="2" presId="urn:microsoft.com/office/officeart/2005/8/layout/pList2"/>
    <dgm:cxn modelId="{AE2110E2-7BD1-4FFF-A0BB-894A3554AABB}" srcId="{8B4B87DA-CBD2-4FA8-86CF-6AE967BD6C91}" destId="{6AF5512F-0766-4FAC-923A-064676E26C33}" srcOrd="2" destOrd="0" parTransId="{E6D61405-3179-4E4D-A813-613BB8828983}" sibTransId="{E9BE9DB1-6189-4963-8DB4-D3AA5170E93E}"/>
    <dgm:cxn modelId="{318373E3-3710-46EC-B97F-08F64F736B49}" srcId="{56ABB444-ACD8-4DC8-92BC-AAC4D2FFC965}" destId="{42AA84C7-1D0D-4ED9-B5F5-6DB7CA900D9E}" srcOrd="0" destOrd="0" parTransId="{EF11E00E-0254-4EEA-84FB-56933B1F77FF}" sibTransId="{3EA8F2C6-E55F-4699-B010-964F282A530E}"/>
    <dgm:cxn modelId="{0D400AE9-CFC4-403D-98DA-A3A78CB1567F}" srcId="{538C5CE8-F4F6-4923-81CB-AD4970537792}" destId="{683BD04D-3393-40D4-8502-E5EE16B58150}" srcOrd="2" destOrd="0" parTransId="{16A7B09A-BF19-4603-8FBF-94BC0C8AB075}" sibTransId="{6DF3BC35-D426-4388-B21A-D5910EE3EB22}"/>
    <dgm:cxn modelId="{74095CF8-54AF-41F2-9CB9-894FF400484A}" type="presOf" srcId="{CB1BC799-EF23-4ED8-99AF-6A83284304D5}" destId="{D65C5DE3-06E0-4FD4-9FDA-F846F3B8F8B7}" srcOrd="0" destOrd="1" presId="urn:microsoft.com/office/officeart/2005/8/layout/pList2"/>
    <dgm:cxn modelId="{951D5AF8-918B-402A-B575-C3BD3A42D724}" type="presOf" srcId="{6AF5512F-0766-4FAC-923A-064676E26C33}" destId="{ECAE6AFB-63C6-4D2F-81BA-26A33A77848D}" srcOrd="0" destOrd="3" presId="urn:microsoft.com/office/officeart/2005/8/layout/pList2"/>
    <dgm:cxn modelId="{88D99643-0F38-49AD-856A-3436C0DC1245}" type="presParOf" srcId="{3FFC330C-4CB3-46C7-BB3E-A65C6A8E4D5C}" destId="{9A20CB1E-BE7E-4C4D-945E-2B51AB2BD7CF}" srcOrd="0" destOrd="0" presId="urn:microsoft.com/office/officeart/2005/8/layout/pList2"/>
    <dgm:cxn modelId="{F97DBCF9-89DB-4A2C-BC67-231E35BF23BF}" type="presParOf" srcId="{3FFC330C-4CB3-46C7-BB3E-A65C6A8E4D5C}" destId="{6DD276F1-485D-47F8-AC43-4607E9B7385D}" srcOrd="1" destOrd="0" presId="urn:microsoft.com/office/officeart/2005/8/layout/pList2"/>
    <dgm:cxn modelId="{CEBE1F01-D67D-4474-B2ED-0C9976EDDDB0}" type="presParOf" srcId="{6DD276F1-485D-47F8-AC43-4607E9B7385D}" destId="{ABF42A39-C2E0-4564-A7E2-9B65E6E4D27F}" srcOrd="0" destOrd="0" presId="urn:microsoft.com/office/officeart/2005/8/layout/pList2"/>
    <dgm:cxn modelId="{30E1DF12-382E-46CD-ADCF-D1DE09A7C13C}" type="presParOf" srcId="{ABF42A39-C2E0-4564-A7E2-9B65E6E4D27F}" destId="{D65C5DE3-06E0-4FD4-9FDA-F846F3B8F8B7}" srcOrd="0" destOrd="0" presId="urn:microsoft.com/office/officeart/2005/8/layout/pList2"/>
    <dgm:cxn modelId="{8F38FEE2-6976-4A45-83BE-3952B373B497}" type="presParOf" srcId="{ABF42A39-C2E0-4564-A7E2-9B65E6E4D27F}" destId="{C34E3ACA-A495-4849-9882-7D876941AFAD}" srcOrd="1" destOrd="0" presId="urn:microsoft.com/office/officeart/2005/8/layout/pList2"/>
    <dgm:cxn modelId="{84BCC6D2-D2A9-40C6-942F-3DC2E7EC52AF}" type="presParOf" srcId="{ABF42A39-C2E0-4564-A7E2-9B65E6E4D27F}" destId="{EE9801D3-D7E1-455F-A6F4-D1FF3FFC72CE}" srcOrd="2" destOrd="0" presId="urn:microsoft.com/office/officeart/2005/8/layout/pList2"/>
    <dgm:cxn modelId="{E82DE711-10C5-4BE6-8191-579B2094BDA1}" type="presParOf" srcId="{6DD276F1-485D-47F8-AC43-4607E9B7385D}" destId="{FD85B4F3-0747-4E71-B54E-731BDA1D6C7B}" srcOrd="1" destOrd="0" presId="urn:microsoft.com/office/officeart/2005/8/layout/pList2"/>
    <dgm:cxn modelId="{F9CA405F-ED03-4E42-86C9-4D3B032DC3C0}" type="presParOf" srcId="{6DD276F1-485D-47F8-AC43-4607E9B7385D}" destId="{72B6D7B4-F1F3-4B54-95B1-04281586BD4A}" srcOrd="2" destOrd="0" presId="urn:microsoft.com/office/officeart/2005/8/layout/pList2"/>
    <dgm:cxn modelId="{64328E1E-37F5-46D9-8FDC-1126466C71C0}" type="presParOf" srcId="{72B6D7B4-F1F3-4B54-95B1-04281586BD4A}" destId="{4C357012-6B49-489B-BB83-21D6C536956C}" srcOrd="0" destOrd="0" presId="urn:microsoft.com/office/officeart/2005/8/layout/pList2"/>
    <dgm:cxn modelId="{4F2E65E3-82B4-4CCC-B582-BCD7EFE4803D}" type="presParOf" srcId="{72B6D7B4-F1F3-4B54-95B1-04281586BD4A}" destId="{E45591B6-24AF-4277-9F00-630FE8C7012E}" srcOrd="1" destOrd="0" presId="urn:microsoft.com/office/officeart/2005/8/layout/pList2"/>
    <dgm:cxn modelId="{D4F20C1A-98B9-4CB1-954B-BE428A11F040}" type="presParOf" srcId="{72B6D7B4-F1F3-4B54-95B1-04281586BD4A}" destId="{FF24CE1D-3526-4B7C-A038-175B6CEA23BD}" srcOrd="2" destOrd="0" presId="urn:microsoft.com/office/officeart/2005/8/layout/pList2"/>
    <dgm:cxn modelId="{9C0A9C1E-5B0C-4660-BD2A-2DC11F7CC92B}" type="presParOf" srcId="{6DD276F1-485D-47F8-AC43-4607E9B7385D}" destId="{23A99EF2-0603-445C-92ED-3FF6C14527EA}" srcOrd="3" destOrd="0" presId="urn:microsoft.com/office/officeart/2005/8/layout/pList2"/>
    <dgm:cxn modelId="{BD266562-B6B7-4C02-A7D4-9DE3BA1E4BCE}" type="presParOf" srcId="{6DD276F1-485D-47F8-AC43-4607E9B7385D}" destId="{4CBE49EB-CAA6-467E-8CE9-869A04C1EB7B}" srcOrd="4" destOrd="0" presId="urn:microsoft.com/office/officeart/2005/8/layout/pList2"/>
    <dgm:cxn modelId="{8C16FDB0-540E-4D15-AE15-C9E672586827}" type="presParOf" srcId="{4CBE49EB-CAA6-467E-8CE9-869A04C1EB7B}" destId="{ECAE6AFB-63C6-4D2F-81BA-26A33A77848D}" srcOrd="0" destOrd="0" presId="urn:microsoft.com/office/officeart/2005/8/layout/pList2"/>
    <dgm:cxn modelId="{B1C41980-BC6E-489B-853C-B4AEBEF63DD7}" type="presParOf" srcId="{4CBE49EB-CAA6-467E-8CE9-869A04C1EB7B}" destId="{B380A483-477D-4B2E-BC5D-2CBE16E7E82E}" srcOrd="1" destOrd="0" presId="urn:microsoft.com/office/officeart/2005/8/layout/pList2"/>
    <dgm:cxn modelId="{1FAFEE2D-B8E1-4D5F-BA5E-49E119F11736}" type="presParOf" srcId="{4CBE49EB-CAA6-467E-8CE9-869A04C1EB7B}" destId="{4184E3C6-83ED-4844-B153-78AB161FD288}" srcOrd="2" destOrd="0" presId="urn:microsoft.com/office/officeart/2005/8/layout/pList2"/>
    <dgm:cxn modelId="{0CAFA5E1-7812-42D2-93DE-4F88903EC89F}" type="presParOf" srcId="{6DD276F1-485D-47F8-AC43-4607E9B7385D}" destId="{B8BABB63-AB08-41BF-B90F-350E10031208}" srcOrd="5" destOrd="0" presId="urn:microsoft.com/office/officeart/2005/8/layout/pList2"/>
    <dgm:cxn modelId="{4675B844-50CE-43B4-988E-CD7234D653CE}" type="presParOf" srcId="{6DD276F1-485D-47F8-AC43-4607E9B7385D}" destId="{F124E6AA-E7F6-4626-AB59-4D71F50C35E7}" srcOrd="6" destOrd="0" presId="urn:microsoft.com/office/officeart/2005/8/layout/pList2"/>
    <dgm:cxn modelId="{60EC88A9-D29B-4B8F-86EA-A2716BFB1C2F}" type="presParOf" srcId="{F124E6AA-E7F6-4626-AB59-4D71F50C35E7}" destId="{30FCDAFC-C565-4FF0-A09E-3E9068BE906A}" srcOrd="0" destOrd="0" presId="urn:microsoft.com/office/officeart/2005/8/layout/pList2"/>
    <dgm:cxn modelId="{41A18880-CF59-4BC9-B181-660986E11FE8}" type="presParOf" srcId="{F124E6AA-E7F6-4626-AB59-4D71F50C35E7}" destId="{3448608E-AFCB-4D30-83BF-3B368AC5B5F0}" srcOrd="1" destOrd="0" presId="urn:microsoft.com/office/officeart/2005/8/layout/pList2"/>
    <dgm:cxn modelId="{45DDE3D9-43E9-4647-B994-878601D55E25}" type="presParOf" srcId="{F124E6AA-E7F6-4626-AB59-4D71F50C35E7}" destId="{8EA125AD-7C05-4FCD-9F90-EE9C6E3CDBA0}" srcOrd="2" destOrd="0" presId="urn:microsoft.com/office/officeart/2005/8/layout/pList2"/>
    <dgm:cxn modelId="{A07DD745-D85D-4669-9791-B562070344C2}" type="presParOf" srcId="{6DD276F1-485D-47F8-AC43-4607E9B7385D}" destId="{321A3EC8-19C4-4B5A-8C7A-5B4C8780F549}" srcOrd="7" destOrd="0" presId="urn:microsoft.com/office/officeart/2005/8/layout/pList2"/>
    <dgm:cxn modelId="{BDB817F2-E18E-48A2-874B-1432BC9A25FD}" type="presParOf" srcId="{6DD276F1-485D-47F8-AC43-4607E9B7385D}" destId="{66F727D1-4666-49FD-9297-00DE7D59CA3B}" srcOrd="8" destOrd="0" presId="urn:microsoft.com/office/officeart/2005/8/layout/pList2"/>
    <dgm:cxn modelId="{5AFDB050-84CB-4747-A701-49FEF97801EE}" type="presParOf" srcId="{66F727D1-4666-49FD-9297-00DE7D59CA3B}" destId="{5D7DF59A-5DB8-464A-8702-ECD08295E854}" srcOrd="0" destOrd="0" presId="urn:microsoft.com/office/officeart/2005/8/layout/pList2"/>
    <dgm:cxn modelId="{6BCBAEF2-1D1F-4119-B10B-8DB2EBDD7532}" type="presParOf" srcId="{66F727D1-4666-49FD-9297-00DE7D59CA3B}" destId="{60963254-D393-4B23-B21C-7F71B8D4E387}" srcOrd="1" destOrd="0" presId="urn:microsoft.com/office/officeart/2005/8/layout/pList2"/>
    <dgm:cxn modelId="{0084CEBF-84D0-4366-A722-C84871BDF2E3}" type="presParOf" srcId="{66F727D1-4666-49FD-9297-00DE7D59CA3B}" destId="{6431613F-18B6-4FC4-A03A-1A66D4B1499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20CB1E-BE7E-4C4D-945E-2B51AB2BD7CF}">
      <dsp:nvSpPr>
        <dsp:cNvPr id="0" name=""/>
        <dsp:cNvSpPr/>
      </dsp:nvSpPr>
      <dsp:spPr>
        <a:xfrm>
          <a:off x="0" y="0"/>
          <a:ext cx="11651868" cy="222680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9801D3-D7E1-455F-A6F4-D1FF3FFC72CE}">
      <dsp:nvSpPr>
        <dsp:cNvPr id="0" name=""/>
        <dsp:cNvSpPr/>
      </dsp:nvSpPr>
      <dsp:spPr>
        <a:xfrm>
          <a:off x="353299"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5C5DE3-06E0-4FD4-9FDA-F846F3B8F8B7}">
      <dsp:nvSpPr>
        <dsp:cNvPr id="0" name=""/>
        <dsp:cNvSpPr/>
      </dsp:nvSpPr>
      <dsp:spPr>
        <a:xfrm rot="10800000">
          <a:off x="353299"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Direct over WAN</a:t>
          </a:r>
        </a:p>
        <a:p>
          <a:pPr marL="114300" lvl="1" indent="-114300" algn="l" defTabSz="533400">
            <a:lnSpc>
              <a:spcPct val="90000"/>
            </a:lnSpc>
            <a:spcBef>
              <a:spcPct val="0"/>
            </a:spcBef>
            <a:spcAft>
              <a:spcPct val="15000"/>
            </a:spcAft>
            <a:buChar char="•"/>
          </a:pPr>
          <a:r>
            <a:rPr lang="en-US" sz="1200" kern="1200"/>
            <a:t>Devices have public IPv4 &amp; connect to IoT hub directly</a:t>
          </a:r>
        </a:p>
        <a:p>
          <a:pPr marL="114300" lvl="1" indent="-114300" algn="l" defTabSz="533400">
            <a:lnSpc>
              <a:spcPct val="90000"/>
            </a:lnSpc>
            <a:spcBef>
              <a:spcPct val="0"/>
            </a:spcBef>
            <a:spcAft>
              <a:spcPct val="15000"/>
            </a:spcAft>
            <a:buChar char="•"/>
          </a:pPr>
          <a:r>
            <a:rPr lang="en-US" sz="1200" kern="1200"/>
            <a:t>Device talks our supported protocols</a:t>
          </a:r>
        </a:p>
        <a:p>
          <a:pPr marL="114300" lvl="1" indent="-114300" algn="l" defTabSz="533400">
            <a:lnSpc>
              <a:spcPct val="90000"/>
            </a:lnSpc>
            <a:spcBef>
              <a:spcPct val="0"/>
            </a:spcBef>
            <a:spcAft>
              <a:spcPct val="15000"/>
            </a:spcAft>
            <a:buChar char="•"/>
          </a:pPr>
          <a:r>
            <a:rPr lang="en-US" sz="1200" kern="1200"/>
            <a:t>e.g., city street lights</a:t>
          </a:r>
        </a:p>
      </dsp:txBody>
      <dsp:txXfrm rot="10800000">
        <a:off x="415633" y="2226804"/>
        <a:ext cx="1902233" cy="2659315"/>
      </dsp:txXfrm>
    </dsp:sp>
    <dsp:sp modelId="{FF24CE1D-3526-4B7C-A038-175B6CEA23BD}">
      <dsp:nvSpPr>
        <dsp:cNvPr id="0" name=""/>
        <dsp:cNvSpPr/>
      </dsp:nvSpPr>
      <dsp:spPr>
        <a:xfrm>
          <a:off x="2582891"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C357012-6B49-489B-BB83-21D6C536956C}">
      <dsp:nvSpPr>
        <dsp:cNvPr id="0" name=""/>
        <dsp:cNvSpPr/>
      </dsp:nvSpPr>
      <dsp:spPr>
        <a:xfrm rot="10800000">
          <a:off x="2582891"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Indirect through a field gateway</a:t>
          </a:r>
        </a:p>
        <a:p>
          <a:pPr marL="114300" lvl="1" indent="-114300" algn="l" defTabSz="533400">
            <a:lnSpc>
              <a:spcPct val="90000"/>
            </a:lnSpc>
            <a:spcBef>
              <a:spcPct val="0"/>
            </a:spcBef>
            <a:spcAft>
              <a:spcPct val="15000"/>
            </a:spcAft>
            <a:buChar char="•"/>
          </a:pPr>
          <a:r>
            <a:rPr lang="en-US" sz="1200" kern="1200"/>
            <a:t>Devices don’t know any of our supported protocols</a:t>
          </a:r>
        </a:p>
        <a:p>
          <a:pPr marL="114300" lvl="1" indent="-114300" algn="l" defTabSz="533400">
            <a:lnSpc>
              <a:spcPct val="90000"/>
            </a:lnSpc>
            <a:spcBef>
              <a:spcPct val="0"/>
            </a:spcBef>
            <a:spcAft>
              <a:spcPct val="15000"/>
            </a:spcAft>
            <a:buChar char="•"/>
          </a:pPr>
          <a:r>
            <a:rPr lang="en-US" sz="1200" kern="1200"/>
            <a:t>Devices connect to a field gateway that supports our protocols</a:t>
          </a:r>
        </a:p>
        <a:p>
          <a:pPr marL="114300" lvl="1" indent="-114300" algn="l" defTabSz="533400">
            <a:lnSpc>
              <a:spcPct val="90000"/>
            </a:lnSpc>
            <a:spcBef>
              <a:spcPct val="0"/>
            </a:spcBef>
            <a:spcAft>
              <a:spcPct val="15000"/>
            </a:spcAft>
            <a:buChar char="•"/>
          </a:pPr>
          <a:r>
            <a:rPr lang="en-US" sz="1200" kern="1200"/>
            <a:t>e.g., soil moisture sensors on a farm</a:t>
          </a:r>
        </a:p>
      </dsp:txBody>
      <dsp:txXfrm rot="10800000">
        <a:off x="2645225" y="2226804"/>
        <a:ext cx="1902233" cy="2659315"/>
      </dsp:txXfrm>
    </dsp:sp>
    <dsp:sp modelId="{4184E3C6-83ED-4844-B153-78AB161FD288}">
      <dsp:nvSpPr>
        <dsp:cNvPr id="0" name=""/>
        <dsp:cNvSpPr/>
      </dsp:nvSpPr>
      <dsp:spPr>
        <a:xfrm>
          <a:off x="4812483"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AE6AFB-63C6-4D2F-81BA-26A33A77848D}">
      <dsp:nvSpPr>
        <dsp:cNvPr id="0" name=""/>
        <dsp:cNvSpPr/>
      </dsp:nvSpPr>
      <dsp:spPr>
        <a:xfrm rot="10800000">
          <a:off x="4812483"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Direct from a private network</a:t>
          </a:r>
        </a:p>
        <a:p>
          <a:pPr marL="114300" lvl="1" indent="-114300" algn="l" defTabSz="533400">
            <a:lnSpc>
              <a:spcPct val="90000"/>
            </a:lnSpc>
            <a:spcBef>
              <a:spcPct val="0"/>
            </a:spcBef>
            <a:spcAft>
              <a:spcPct val="15000"/>
            </a:spcAft>
            <a:buChar char="•"/>
          </a:pPr>
          <a:r>
            <a:rPr lang="en-US" sz="1200" kern="1200"/>
            <a:t>Devices have private IP</a:t>
          </a:r>
        </a:p>
        <a:p>
          <a:pPr marL="114300" lvl="1" indent="-114300" algn="l" defTabSz="533400">
            <a:lnSpc>
              <a:spcPct val="90000"/>
            </a:lnSpc>
            <a:spcBef>
              <a:spcPct val="0"/>
            </a:spcBef>
            <a:spcAft>
              <a:spcPct val="15000"/>
            </a:spcAft>
            <a:buChar char="•"/>
          </a:pPr>
          <a:r>
            <a:rPr lang="en-US" sz="1200" kern="1200"/>
            <a:t>Devices’ traffic pass a net. gateway (e.g., HTTP GW) performing NAT</a:t>
          </a:r>
        </a:p>
        <a:p>
          <a:pPr marL="114300" lvl="1" indent="-114300" algn="l" defTabSz="533400">
            <a:lnSpc>
              <a:spcPct val="90000"/>
            </a:lnSpc>
            <a:spcBef>
              <a:spcPct val="0"/>
            </a:spcBef>
            <a:spcAft>
              <a:spcPct val="15000"/>
            </a:spcAft>
            <a:buChar char="•"/>
          </a:pPr>
          <a:r>
            <a:rPr lang="en-US" sz="1200" kern="1200"/>
            <a:t>e.g., robots in factory floor</a:t>
          </a:r>
        </a:p>
      </dsp:txBody>
      <dsp:txXfrm rot="10800000">
        <a:off x="4874817" y="2226804"/>
        <a:ext cx="1902233" cy="2659315"/>
      </dsp:txXfrm>
    </dsp:sp>
    <dsp:sp modelId="{8EA125AD-7C05-4FCD-9F90-EE9C6E3CDBA0}">
      <dsp:nvSpPr>
        <dsp:cNvPr id="0" name=""/>
        <dsp:cNvSpPr/>
      </dsp:nvSpPr>
      <dsp:spPr>
        <a:xfrm>
          <a:off x="7042075"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FCDAFC-C565-4FF0-A09E-3E9068BE906A}">
      <dsp:nvSpPr>
        <dsp:cNvPr id="0" name=""/>
        <dsp:cNvSpPr/>
      </dsp:nvSpPr>
      <dsp:spPr>
        <a:xfrm rot="10800000">
          <a:off x="7042075"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Protocol gateway</a:t>
          </a:r>
        </a:p>
        <a:p>
          <a:pPr marL="114300" lvl="1" indent="-114300" algn="l" defTabSz="533400">
            <a:lnSpc>
              <a:spcPct val="90000"/>
            </a:lnSpc>
            <a:spcBef>
              <a:spcPct val="0"/>
            </a:spcBef>
            <a:spcAft>
              <a:spcPct val="15000"/>
            </a:spcAft>
            <a:buChar char="•"/>
          </a:pPr>
          <a:r>
            <a:rPr lang="en-US" sz="1200" kern="1200"/>
            <a:t>Devices connect to PG</a:t>
          </a:r>
        </a:p>
        <a:p>
          <a:pPr marL="114300" lvl="1" indent="-114300" algn="l" defTabSz="533400">
            <a:lnSpc>
              <a:spcPct val="90000"/>
            </a:lnSpc>
            <a:spcBef>
              <a:spcPct val="0"/>
            </a:spcBef>
            <a:spcAft>
              <a:spcPct val="15000"/>
            </a:spcAft>
            <a:buChar char="•"/>
          </a:pPr>
          <a:r>
            <a:rPr lang="en-US" sz="1200" kern="1200"/>
            <a:t>PG connects to IoT Hub on behalf of devices with their identity</a:t>
          </a:r>
        </a:p>
        <a:p>
          <a:pPr marL="114300" lvl="1" indent="-114300" algn="l" defTabSz="533400">
            <a:lnSpc>
              <a:spcPct val="90000"/>
            </a:lnSpc>
            <a:spcBef>
              <a:spcPct val="0"/>
            </a:spcBef>
            <a:spcAft>
              <a:spcPct val="15000"/>
            </a:spcAft>
            <a:buChar char="•"/>
          </a:pPr>
          <a:r>
            <a:rPr lang="en-US" sz="1200" kern="1200"/>
            <a:t>e.g., connected car </a:t>
          </a:r>
        </a:p>
      </dsp:txBody>
      <dsp:txXfrm rot="10800000">
        <a:off x="7104409" y="2226804"/>
        <a:ext cx="1902233" cy="2659315"/>
      </dsp:txXfrm>
    </dsp:sp>
    <dsp:sp modelId="{6431613F-18B6-4FC4-A03A-1A66D4B14996}">
      <dsp:nvSpPr>
        <dsp:cNvPr id="0" name=""/>
        <dsp:cNvSpPr/>
      </dsp:nvSpPr>
      <dsp:spPr>
        <a:xfrm>
          <a:off x="9271667"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D7DF59A-5DB8-464A-8702-ECD08295E854}">
      <dsp:nvSpPr>
        <dsp:cNvPr id="0" name=""/>
        <dsp:cNvSpPr/>
      </dsp:nvSpPr>
      <dsp:spPr>
        <a:xfrm rot="10800000">
          <a:off x="9271667"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Edge</a:t>
          </a:r>
        </a:p>
        <a:p>
          <a:pPr marL="114300" lvl="1" indent="-114300" algn="l" defTabSz="533400">
            <a:lnSpc>
              <a:spcPct val="90000"/>
            </a:lnSpc>
            <a:spcBef>
              <a:spcPct val="0"/>
            </a:spcBef>
            <a:spcAft>
              <a:spcPct val="15000"/>
            </a:spcAft>
            <a:buChar char="•"/>
          </a:pPr>
          <a:r>
            <a:rPr lang="en-US" sz="1200" kern="1200"/>
            <a:t>A special-purpose protocol gateway</a:t>
          </a:r>
        </a:p>
        <a:p>
          <a:pPr marL="114300" lvl="1" indent="-114300" algn="l" defTabSz="533400">
            <a:lnSpc>
              <a:spcPct val="90000"/>
            </a:lnSpc>
            <a:spcBef>
              <a:spcPct val="0"/>
            </a:spcBef>
            <a:spcAft>
              <a:spcPct val="15000"/>
            </a:spcAft>
            <a:buChar char="•"/>
          </a:pPr>
          <a:r>
            <a:rPr lang="en-US" sz="1200" kern="1200"/>
            <a:t>Edge runtime deploys &amp; manages devices’ code</a:t>
          </a:r>
        </a:p>
        <a:p>
          <a:pPr marL="114300" lvl="1" indent="-114300" algn="l" defTabSz="533400">
            <a:lnSpc>
              <a:spcPct val="90000"/>
            </a:lnSpc>
            <a:spcBef>
              <a:spcPct val="0"/>
            </a:spcBef>
            <a:spcAft>
              <a:spcPct val="15000"/>
            </a:spcAft>
            <a:buChar char="•"/>
          </a:pPr>
          <a:r>
            <a:rPr lang="en-US" sz="1200" kern="1200"/>
            <a:t>Usually involves high-powered devices</a:t>
          </a:r>
        </a:p>
        <a:p>
          <a:pPr marL="114300" lvl="1" indent="-114300" algn="l" defTabSz="533400">
            <a:lnSpc>
              <a:spcPct val="90000"/>
            </a:lnSpc>
            <a:spcBef>
              <a:spcPct val="0"/>
            </a:spcBef>
            <a:spcAft>
              <a:spcPct val="15000"/>
            </a:spcAft>
            <a:buChar char="•"/>
          </a:pPr>
          <a:r>
            <a:rPr lang="en-US" sz="1200" kern="1200"/>
            <a:t>e.g., deploy image detection for boxes on a conveyor belt</a:t>
          </a:r>
        </a:p>
      </dsp:txBody>
      <dsp:txXfrm rot="10800000">
        <a:off x="9334001" y="2226804"/>
        <a:ext cx="1902233" cy="2659315"/>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A59D92-4E7D-4E08-A805-B467E98CEFD1}" type="datetimeFigureOut">
              <a:rPr lang="en-US" smtClean="0"/>
              <a:t>3/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27A1F0-49ED-468D-8AED-D4716C3B901C}" type="slidenum">
              <a:rPr lang="en-US" smtClean="0"/>
              <a:t>‹#›</a:t>
            </a:fld>
            <a:endParaRPr lang="en-US"/>
          </a:p>
        </p:txBody>
      </p:sp>
    </p:spTree>
    <p:extLst>
      <p:ext uri="{BB962C8B-B14F-4D97-AF65-F5344CB8AC3E}">
        <p14:creationId xmlns:p14="http://schemas.microsoft.com/office/powerpoint/2010/main" val="2400080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iot-hub/iot-hub-devguide-messages-d2c"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docs.microsoft.com/en-us/azure/iot-hub/iot-hub-devguide-file-upload" TargetMode="External"/><Relationship Id="rId4" Type="http://schemas.openxmlformats.org/officeDocument/2006/relationships/hyperlink" Target="https://docs.microsoft.com/en-us/azure/iot-hub/iot-hub-devguide-device-twins"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iot-hub/iot-hub-devguide-identity-registry"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iot-hub/iot-hub-devguide-direct-methods"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azure/iot-hub/iot-hub-devguide-messages-c2d" TargetMode="External"/><Relationship Id="rId4" Type="http://schemas.openxmlformats.org/officeDocument/2006/relationships/hyperlink" Target="https://docs.microsoft.com/en-us/azure/iot-hub/iot-hub-devguide-device-twins"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iot-hub/iot-hub-devguide-endpoints#custom-endpoints"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azure/storage/blobs/data-lake-storage-namespace" TargetMode="External"/><Relationship Id="rId5" Type="http://schemas.openxmlformats.org/officeDocument/2006/relationships/hyperlink" Target="https://docs.microsoft.com/en-us/azure/storage/blobs/data-lake-storage-introduction" TargetMode="External"/><Relationship Id="rId4" Type="http://schemas.openxmlformats.org/officeDocument/2006/relationships/hyperlink" Target="https://docs.microsoft.com/en-us/azure/storage/blobs/storage-blobs-introduction"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iot-hub/iot-hub-devguide-endpoints#custom-endpoints"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microsoft.com/en-us/azure/storage/blobs/data-lake-storage-namespace" TargetMode="External"/><Relationship Id="rId5" Type="http://schemas.openxmlformats.org/officeDocument/2006/relationships/hyperlink" Target="https://docs.microsoft.com/en-us/azure/storage/blobs/data-lake-storage-introduction" TargetMode="External"/><Relationship Id="rId4" Type="http://schemas.openxmlformats.org/officeDocument/2006/relationships/hyperlink" Target="https://docs.microsoft.com/en-us/azure/storage/blobs/storage-blobs-introduction"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45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7416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788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Azure IoT device SDK for C</a:t>
            </a:r>
            <a:r>
              <a:rPr lang="en-US" sz="1200" b="0" i="0" kern="1200" dirty="0">
                <a:solidFill>
                  <a:schemeClr val="tx1"/>
                </a:solidFill>
                <a:effectLst/>
                <a:latin typeface="+mn-lt"/>
                <a:ea typeface="+mn-ea"/>
                <a:cs typeface="+mn-cs"/>
              </a:rPr>
              <a:t> is a set of libraries designed to simplify the process of sending messages to and receiving messages from the </a:t>
            </a:r>
            <a:r>
              <a:rPr lang="en-US" sz="1200" b="1" i="0" kern="1200" dirty="0">
                <a:solidFill>
                  <a:schemeClr val="tx1"/>
                </a:solidFill>
                <a:effectLst/>
                <a:latin typeface="+mn-lt"/>
                <a:ea typeface="+mn-ea"/>
                <a:cs typeface="+mn-cs"/>
              </a:rPr>
              <a:t>Azure IoT Hub</a:t>
            </a:r>
            <a:r>
              <a:rPr lang="en-US" sz="1200" b="0" i="0" kern="1200" dirty="0">
                <a:solidFill>
                  <a:schemeClr val="tx1"/>
                </a:solidFill>
                <a:effectLst/>
                <a:latin typeface="+mn-lt"/>
                <a:ea typeface="+mn-ea"/>
                <a:cs typeface="+mn-cs"/>
              </a:rPr>
              <a:t> servic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he Azure IoT device SDK for C is written in ANSI C (C99) to maximize portability. This feature makes the libraries well suited to operate on multiple platforms and devices, especially where minimizing disk and memory footprint is a priority. As a result, you can optimize for size, choose the connections you want, and take advantage of an “Everywhere SDK”—that is, one that can be used as you need, when you need.</a:t>
            </a:r>
          </a:p>
          <a:p>
            <a:pPr marL="0" indent="0">
              <a:buNone/>
            </a:pPr>
            <a:endParaRPr lang="en-US" sz="1200" b="0" i="0" u="none" strike="noStrike" kern="1200" dirty="0">
              <a:solidFill>
                <a:schemeClr val="tx1"/>
              </a:solidFill>
              <a:effectLst/>
              <a:latin typeface="+mn-lt"/>
              <a:ea typeface="+mn-ea"/>
              <a:cs typeface="+mn-cs"/>
            </a:endParaRP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This slide shows the difference between the C SDK (Scenario 1) and the Embedded C SDK (Scenario 2).</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Scenario 1 provides everything the developer needs to get his application connected to Azure IoT Hub. It behaves like a platform and provides lots of functionalities.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However this comes at a cost: the tradeoff here is the size. We can’t fit the C SDK in smaller devices.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Scenario 2 addresses that need: it provides developer with the maximum flexibility and the BYO (bring your own) network stack.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Embedded C SDK in this scenario is a set of libraries that helps the developer but requires additional components to work.</a:t>
            </a:r>
          </a:p>
          <a:p>
            <a:pPr marL="0" indent="0">
              <a:buNone/>
            </a:pPr>
            <a:endParaRPr lang="en-US" sz="1200" b="0" i="0" u="none" strike="noStrike" kern="1200" dirty="0">
              <a:solidFill>
                <a:schemeClr val="tx1"/>
              </a:solidFill>
              <a:effectLst/>
              <a:latin typeface="+mn-lt"/>
              <a:ea typeface="+mn-ea"/>
              <a:cs typeface="+mn-cs"/>
            </a:endParaRPr>
          </a:p>
          <a:p>
            <a:pPr marL="0" indent="0">
              <a:buNone/>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6A5A-C878-4674-858B-EE76FBD809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4778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Let's make the IoT Data architecture more concreate</a:t>
            </a:r>
          </a:p>
          <a:p>
            <a:pPr marL="171450" indent="-171450">
              <a:buFont typeface="Arial" panose="020B0604020202020204" pitchFamily="34" charset="0"/>
              <a:buChar char="•"/>
            </a:pPr>
            <a:r>
              <a:rPr lang="en-AU" dirty="0"/>
              <a:t>And look how you would implement an Azure IoT solution to support a Smart Factory</a:t>
            </a:r>
          </a:p>
          <a:p>
            <a:pPr marL="171450" indent="-171450">
              <a:buFont typeface="Arial" panose="020B0604020202020204" pitchFamily="34" charset="0"/>
              <a:buChar char="•"/>
            </a:pPr>
            <a:r>
              <a:rPr lang="en-AU" dirty="0"/>
              <a:t>The pattern and the services would be very similar for other scenarios</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There is a lot going on</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Break it down piece by piece to help you understand what is going on</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endParaRPr lang="en-AU" dirty="0"/>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zure IoT hub is an internet scale secure messaging services, supports bidirectional communications, message enrichment and partitioning</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Common services for Stream processing include Stream Analytics, Apache Spark streaming with Azure Databricks, and Azure Functions</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nd common endpoints include…</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ctions and </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endParaRPr lang="en-AU" dirty="0"/>
          </a:p>
          <a:p>
            <a:pPr marL="0" marR="0" lvl="0" indent="0" defTabSz="228554" eaLnBrk="1" fontAlgn="auto" latinLnBrk="0" hangingPunct="1">
              <a:lnSpc>
                <a:spcPct val="117999"/>
              </a:lnSpc>
              <a:spcBef>
                <a:spcPts val="0"/>
              </a:spcBef>
              <a:spcAft>
                <a:spcPts val="0"/>
              </a:spcAft>
              <a:buClrTx/>
              <a:buSzTx/>
              <a:buFontTx/>
              <a:buNone/>
              <a:tabLst/>
              <a:defRPr/>
            </a:pPr>
            <a:endParaRPr lang="en-AU" dirty="0"/>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Starting on the left</a:t>
            </a:r>
          </a:p>
          <a:p>
            <a:endParaRPr lang="en-AU" dirty="0"/>
          </a:p>
          <a:p>
            <a:r>
              <a:rPr lang="en-AU" b="0" i="0" dirty="0">
                <a:solidFill>
                  <a:srgbClr val="333333"/>
                </a:solidFill>
                <a:effectLst/>
                <a:latin typeface="Barlow"/>
              </a:rPr>
              <a:t>Databricks Unified Analytics Platform</a:t>
            </a:r>
            <a:endParaRPr lang="en-AU" dirty="0"/>
          </a:p>
          <a:p>
            <a:endParaRPr lang="en-AU" dirty="0"/>
          </a:p>
          <a:p>
            <a:endParaRPr lang="en-AU" dirty="0"/>
          </a:p>
        </p:txBody>
      </p:sp>
    </p:spTree>
    <p:extLst>
      <p:ext uri="{BB962C8B-B14F-4D97-AF65-F5344CB8AC3E}">
        <p14:creationId xmlns:p14="http://schemas.microsoft.com/office/powerpoint/2010/main" val="1174714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Device-to-cloud communications &amp; Cloud to device comms</a:t>
            </a:r>
          </a:p>
          <a:p>
            <a:pPr algn="l"/>
            <a:r>
              <a:rPr lang="en-US" b="0" i="0" dirty="0">
                <a:solidFill>
                  <a:srgbClr val="171717"/>
                </a:solidFill>
                <a:effectLst/>
                <a:latin typeface="Segoe UI" panose="020B0502040204020203" pitchFamily="34" charset="0"/>
              </a:rPr>
              <a:t>When sending information from the device app to the solution back end, IoT Hub exposes three option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3"/>
              </a:rPr>
              <a:t>Device-to-cloud messages</a:t>
            </a:r>
            <a:r>
              <a:rPr lang="en-US" b="0" i="0" dirty="0">
                <a:solidFill>
                  <a:srgbClr val="171717"/>
                </a:solidFill>
                <a:effectLst/>
                <a:latin typeface="Segoe UI" panose="020B0502040204020203" pitchFamily="34" charset="0"/>
              </a:rPr>
              <a:t> for time series telemetry and alert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Device twin's reported properties</a:t>
            </a:r>
            <a:r>
              <a:rPr lang="en-US" b="0" i="0" dirty="0">
                <a:solidFill>
                  <a:srgbClr val="171717"/>
                </a:solidFill>
                <a:effectLst/>
                <a:latin typeface="Segoe UI" panose="020B0502040204020203" pitchFamily="34" charset="0"/>
              </a:rPr>
              <a:t> for reporting device state information such as available capabilities, conditions, or the state of long-running workflows. For example, configuration and software update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File uploads</a:t>
            </a:r>
            <a:r>
              <a:rPr lang="en-US" b="0" i="0" dirty="0">
                <a:solidFill>
                  <a:srgbClr val="171717"/>
                </a:solidFill>
                <a:effectLst/>
                <a:latin typeface="Segoe UI" panose="020B0502040204020203" pitchFamily="34" charset="0"/>
              </a:rPr>
              <a:t> for media files and large telemetry batches uploaded by intermittently connected devices or compressed to save bandwidth.</a:t>
            </a:r>
          </a:p>
          <a:p>
            <a:endParaRPr lang="en-AU" dirty="0"/>
          </a:p>
          <a:p>
            <a:r>
              <a:rPr lang="en-AU" dirty="0"/>
              <a:t>Message comes into IoT Hub</a:t>
            </a:r>
          </a:p>
          <a:p>
            <a:endParaRPr lang="en-AU" dirty="0"/>
          </a:p>
          <a:p>
            <a:r>
              <a:rPr lang="en-AU" dirty="0"/>
              <a:t>In our example we have a telemetry message from a device</a:t>
            </a:r>
          </a:p>
          <a:p>
            <a:endParaRPr lang="en-AU" dirty="0"/>
          </a:p>
          <a:p>
            <a:pPr marL="0" marR="0" lvl="0" indent="0" defTabSz="228554" eaLnBrk="1" fontAlgn="auto" latinLnBrk="0" hangingPunct="1">
              <a:lnSpc>
                <a:spcPct val="117999"/>
              </a:lnSpc>
              <a:spcBef>
                <a:spcPts val="0"/>
              </a:spcBef>
              <a:spcAft>
                <a:spcPts val="0"/>
              </a:spcAft>
              <a:buClrTx/>
              <a:buSzTx/>
              <a:buFontTx/>
              <a:buNone/>
              <a:tabLst/>
              <a:defRPr/>
            </a:pPr>
            <a:r>
              <a:rPr lang="en-AU" dirty="0"/>
              <a:t>When the code was written for the device the developer can add known metadata</a:t>
            </a:r>
          </a:p>
          <a:p>
            <a:pPr marL="0" marR="0" lvl="0" indent="0" defTabSz="228554" eaLnBrk="1" fontAlgn="auto" latinLnBrk="0" hangingPunct="1">
              <a:lnSpc>
                <a:spcPct val="117999"/>
              </a:lnSpc>
              <a:spcBef>
                <a:spcPts val="0"/>
              </a:spcBef>
              <a:spcAft>
                <a:spcPts val="0"/>
              </a:spcAft>
              <a:buClrTx/>
              <a:buSzTx/>
              <a:buFontTx/>
              <a:buNone/>
              <a:tabLst/>
              <a:defRPr/>
            </a:pPr>
            <a:endParaRPr lang="en-AU" dirty="0"/>
          </a:p>
          <a:p>
            <a:pPr marL="0" marR="0" lvl="0" indent="0" defTabSz="228554" eaLnBrk="1" fontAlgn="auto" latinLnBrk="0" hangingPunct="1">
              <a:lnSpc>
                <a:spcPct val="117999"/>
              </a:lnSpc>
              <a:spcBef>
                <a:spcPts val="0"/>
              </a:spcBef>
              <a:spcAft>
                <a:spcPts val="0"/>
              </a:spcAft>
              <a:buClrTx/>
              <a:buSzTx/>
              <a:buFontTx/>
              <a:buNone/>
              <a:tabLst/>
              <a:defRPr/>
            </a:pPr>
            <a:r>
              <a:rPr lang="en-AU" dirty="0"/>
              <a:t>But the developer is unlikely to know where the device is being deployed or what the preferred device name will be</a:t>
            </a:r>
          </a:p>
          <a:p>
            <a:endParaRPr lang="en-AU" dirty="0"/>
          </a:p>
          <a:p>
            <a:r>
              <a:rPr lang="en-AU" dirty="0"/>
              <a:t>Every device registered has a device twin JSON metadata document</a:t>
            </a:r>
          </a:p>
          <a:p>
            <a:endParaRPr lang="en-AU" dirty="0"/>
          </a:p>
          <a:p>
            <a:r>
              <a:rPr lang="en-AU" dirty="0"/>
              <a:t>The initial state can be set by the device provisioning service and your application</a:t>
            </a:r>
          </a:p>
          <a:p>
            <a:endParaRPr lang="en-AU" dirty="0"/>
          </a:p>
          <a:p>
            <a:r>
              <a:rPr lang="en-AU" dirty="0"/>
              <a:t>This JSON document includes tags – data about the device, and desired and reported properties</a:t>
            </a:r>
          </a:p>
          <a:p>
            <a:endParaRPr lang="en-AU" dirty="0"/>
          </a:p>
          <a:p>
            <a:r>
              <a:rPr lang="en-AU" dirty="0"/>
              <a:t>Tags can include arbitrary data – in our case the device </a:t>
            </a:r>
            <a:r>
              <a:rPr lang="en-AU" dirty="0" err="1"/>
              <a:t>lat</a:t>
            </a:r>
            <a:r>
              <a:rPr lang="en-AU" dirty="0"/>
              <a:t>/long location and the device name</a:t>
            </a:r>
          </a:p>
          <a:p>
            <a:endParaRPr lang="en-AU" dirty="0"/>
          </a:p>
          <a:p>
            <a:r>
              <a:rPr lang="en-AU" dirty="0"/>
              <a:t>The device twin tag can be added to the message metadata as it flows through the system</a:t>
            </a:r>
          </a:p>
          <a:p>
            <a:endParaRPr lang="en-AU" dirty="0"/>
          </a:p>
          <a:p>
            <a:r>
              <a:rPr lang="en-AU" dirty="0"/>
              <a:t>So we now have richer information about the message will be useful as the message flows through the system.</a:t>
            </a:r>
          </a:p>
          <a:p>
            <a:endParaRPr lang="en-AU" dirty="0"/>
          </a:p>
          <a:p>
            <a:endParaRPr lang="en-AU" dirty="0"/>
          </a:p>
          <a:p>
            <a:endParaRPr lang="en-AU" dirty="0"/>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749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1" dirty="0">
                <a:solidFill>
                  <a:srgbClr val="171717"/>
                </a:solidFill>
                <a:effectLst/>
                <a:latin typeface="Segoe UI" panose="020B0502040204020203" pitchFamily="34" charset="0"/>
              </a:rPr>
              <a:t>Device twins</a:t>
            </a:r>
            <a:r>
              <a:rPr lang="en-US" b="0" i="0" dirty="0">
                <a:solidFill>
                  <a:srgbClr val="171717"/>
                </a:solidFill>
                <a:effectLst/>
                <a:latin typeface="Segoe UI" panose="020B0502040204020203" pitchFamily="34" charset="0"/>
              </a:rPr>
              <a:t> are JSON documents that store device state information including metadata, configurations, and conditions. Azure IoT Hub maintains a device twin for each device that you connect to IoT Hub.</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lifecycle of a device twin is linked to the corresponding </a:t>
            </a:r>
            <a:r>
              <a:rPr lang="en-US" b="0" i="0" u="none" strike="noStrike" dirty="0">
                <a:effectLst/>
                <a:latin typeface="Segoe UI" panose="020B0502040204020203" pitchFamily="34" charset="0"/>
                <a:hlinkClick r:id="rId3"/>
              </a:rPr>
              <a:t>device identity</a:t>
            </a:r>
            <a:r>
              <a:rPr lang="en-US" b="0" i="0" dirty="0">
                <a:solidFill>
                  <a:srgbClr val="171717"/>
                </a:solidFill>
                <a:effectLst/>
                <a:latin typeface="Segoe UI" panose="020B0502040204020203" pitchFamily="34" charset="0"/>
              </a:rPr>
              <a:t>. Device twins are implicitly created and deleted when a device identity is created or deleted in IoT Hub.</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Device twins store device-related information that:</a:t>
            </a:r>
          </a:p>
          <a:p>
            <a:pPr algn="l">
              <a:buFont typeface="Arial" panose="020B0604020202020204" pitchFamily="34" charset="0"/>
              <a:buChar char="•"/>
            </a:pPr>
            <a:r>
              <a:rPr lang="en-US" b="0" i="0" dirty="0">
                <a:solidFill>
                  <a:srgbClr val="171717"/>
                </a:solidFill>
                <a:effectLst/>
                <a:latin typeface="Segoe UI" panose="020B0502040204020203" pitchFamily="34" charset="0"/>
              </a:rPr>
              <a:t>Device and back ends can use to synchronize device conditions and configur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olution back end can use to query and target long-running operations.</a:t>
            </a:r>
          </a:p>
          <a:p>
            <a:pPr algn="l"/>
            <a:r>
              <a:rPr lang="en-US" b="0" i="0" dirty="0">
                <a:solidFill>
                  <a:srgbClr val="171717"/>
                </a:solidFill>
                <a:effectLst/>
                <a:latin typeface="Segoe UI" panose="020B0502040204020203" pitchFamily="34" charset="0"/>
              </a:rPr>
              <a:t>The lifecycle of a device twin is linked to the corresponding </a:t>
            </a:r>
            <a:r>
              <a:rPr lang="en-US" b="0" i="0" u="none" strike="noStrike" dirty="0">
                <a:solidFill>
                  <a:srgbClr val="171717"/>
                </a:solidFill>
                <a:effectLst/>
                <a:latin typeface="Segoe UI" panose="020B0502040204020203" pitchFamily="34" charset="0"/>
                <a:hlinkClick r:id="rId3"/>
              </a:rPr>
              <a:t>device identity</a:t>
            </a:r>
            <a:r>
              <a:rPr lang="en-US" b="0" i="0" dirty="0">
                <a:solidFill>
                  <a:srgbClr val="171717"/>
                </a:solidFill>
                <a:effectLst/>
                <a:latin typeface="Segoe UI" panose="020B0502040204020203" pitchFamily="34" charset="0"/>
              </a:rPr>
              <a:t>. Device twins are implicitly created and deleted when a device identity is created or deleted in IoT Hub.</a:t>
            </a:r>
          </a:p>
          <a:p>
            <a:pPr algn="l"/>
            <a:r>
              <a:rPr lang="en-US" b="0" i="0" dirty="0">
                <a:solidFill>
                  <a:srgbClr val="171717"/>
                </a:solidFill>
                <a:effectLst/>
                <a:latin typeface="Segoe UI" panose="020B0502040204020203" pitchFamily="34" charset="0"/>
              </a:rPr>
              <a:t>A device twin is a JSON document that includes:</a:t>
            </a:r>
          </a:p>
          <a:p>
            <a:pPr algn="l">
              <a:buFont typeface="Arial" panose="020B0604020202020204" pitchFamily="34" charset="0"/>
              <a:buChar char="•"/>
            </a:pPr>
            <a:r>
              <a:rPr lang="en-US" b="1" i="0" dirty="0">
                <a:solidFill>
                  <a:srgbClr val="171717"/>
                </a:solidFill>
                <a:effectLst/>
                <a:latin typeface="Segoe UI" panose="020B0502040204020203" pitchFamily="34" charset="0"/>
              </a:rPr>
              <a:t>Tags</a:t>
            </a:r>
            <a:r>
              <a:rPr lang="en-US" b="0" i="0" dirty="0">
                <a:solidFill>
                  <a:srgbClr val="171717"/>
                </a:solidFill>
                <a:effectLst/>
                <a:latin typeface="Segoe UI" panose="020B0502040204020203" pitchFamily="34" charset="0"/>
              </a:rPr>
              <a:t>. A section of the JSON document that the solution back end can read from and write to. Tags are not visible to device apps.</a:t>
            </a:r>
          </a:p>
          <a:p>
            <a:pPr algn="l">
              <a:buFont typeface="Arial" panose="020B0604020202020204" pitchFamily="34" charset="0"/>
              <a:buChar char="•"/>
            </a:pPr>
            <a:r>
              <a:rPr lang="en-US" b="1" i="0" dirty="0">
                <a:solidFill>
                  <a:srgbClr val="171717"/>
                </a:solidFill>
                <a:effectLst/>
                <a:latin typeface="Segoe UI" panose="020B0502040204020203" pitchFamily="34" charset="0"/>
              </a:rPr>
              <a:t>Desired properties</a:t>
            </a:r>
            <a:r>
              <a:rPr lang="en-US" b="0" i="0" dirty="0">
                <a:solidFill>
                  <a:srgbClr val="171717"/>
                </a:solidFill>
                <a:effectLst/>
                <a:latin typeface="Segoe UI" panose="020B0502040204020203" pitchFamily="34" charset="0"/>
              </a:rPr>
              <a:t>. Used along with reported properties to synchronize device configuration or conditions. The solution back end can set desired properties, and the device app can read them. The device app can also receive notifications of changes in the desired properties.</a:t>
            </a:r>
          </a:p>
          <a:p>
            <a:pPr algn="l">
              <a:buFont typeface="Arial" panose="020B0604020202020204" pitchFamily="34" charset="0"/>
              <a:buChar char="•"/>
            </a:pPr>
            <a:r>
              <a:rPr lang="en-US" b="1" i="0" dirty="0">
                <a:solidFill>
                  <a:srgbClr val="171717"/>
                </a:solidFill>
                <a:effectLst/>
                <a:latin typeface="Segoe UI" panose="020B0502040204020203" pitchFamily="34" charset="0"/>
              </a:rPr>
              <a:t>Reported properties</a:t>
            </a:r>
            <a:r>
              <a:rPr lang="en-US" b="0" i="0" dirty="0">
                <a:solidFill>
                  <a:srgbClr val="171717"/>
                </a:solidFill>
                <a:effectLst/>
                <a:latin typeface="Segoe UI" panose="020B0502040204020203" pitchFamily="34" charset="0"/>
              </a:rPr>
              <a:t>. Used along with desired properties to synchronize device configuration or conditions. The device app can set reported properties, and the solution back end can read and query them.</a:t>
            </a:r>
          </a:p>
          <a:p>
            <a:pPr algn="l">
              <a:buFont typeface="Arial" panose="020B0604020202020204" pitchFamily="34" charset="0"/>
              <a:buChar char="•"/>
            </a:pPr>
            <a:r>
              <a:rPr lang="en-US" b="1" i="0" dirty="0">
                <a:solidFill>
                  <a:srgbClr val="171717"/>
                </a:solidFill>
                <a:effectLst/>
                <a:latin typeface="Segoe UI" panose="020B0502040204020203" pitchFamily="34" charset="0"/>
              </a:rPr>
              <a:t>Device identity properties</a:t>
            </a:r>
            <a:r>
              <a:rPr lang="en-US" b="0" i="0" dirty="0">
                <a:solidFill>
                  <a:srgbClr val="171717"/>
                </a:solidFill>
                <a:effectLst/>
                <a:latin typeface="Segoe UI" panose="020B0502040204020203" pitchFamily="34" charset="0"/>
              </a:rPr>
              <a:t>. The root of the device twin JSON document contains the read-only properties from the corresponding device identity stored in the </a:t>
            </a:r>
            <a:r>
              <a:rPr lang="en-US" b="0" i="0" u="none" strike="noStrike" dirty="0">
                <a:solidFill>
                  <a:srgbClr val="171717"/>
                </a:solidFill>
                <a:effectLst/>
                <a:latin typeface="Segoe UI" panose="020B0502040204020203" pitchFamily="34" charset="0"/>
                <a:hlinkClick r:id="rId3"/>
              </a:rPr>
              <a:t>identity registry</a:t>
            </a:r>
            <a:r>
              <a:rPr lang="en-US" b="0" i="0" dirty="0">
                <a:solidFill>
                  <a:srgbClr val="171717"/>
                </a:solidFill>
                <a:effectLst/>
                <a:latin typeface="Segoe UI" panose="020B0502040204020203" pitchFamily="34" charset="0"/>
              </a:rPr>
              <a:t>. Properties </a:t>
            </a:r>
            <a:r>
              <a:rPr lang="en-US" b="0" i="0" dirty="0" err="1">
                <a:solidFill>
                  <a:srgbClr val="171717"/>
                </a:solidFill>
                <a:effectLst/>
                <a:latin typeface="Segoe UI" panose="020B0502040204020203" pitchFamily="34" charset="0"/>
              </a:rPr>
              <a:t>connectionStateUpdatedTime</a:t>
            </a:r>
            <a:r>
              <a:rPr lang="en-US" b="0" i="0" dirty="0">
                <a:solidFill>
                  <a:srgbClr val="171717"/>
                </a:solidFill>
                <a:effectLst/>
                <a:latin typeface="Segoe UI" panose="020B0502040204020203" pitchFamily="34" charset="0"/>
              </a:rPr>
              <a:t> and </a:t>
            </a:r>
            <a:r>
              <a:rPr lang="en-US" b="0" i="0" dirty="0" err="1">
                <a:solidFill>
                  <a:srgbClr val="171717"/>
                </a:solidFill>
                <a:effectLst/>
                <a:latin typeface="Segoe UI" panose="020B0502040204020203" pitchFamily="34" charset="0"/>
              </a:rPr>
              <a:t>generationId</a:t>
            </a:r>
            <a:r>
              <a:rPr lang="en-US" b="0" i="0" dirty="0">
                <a:solidFill>
                  <a:srgbClr val="171717"/>
                </a:solidFill>
                <a:effectLst/>
                <a:latin typeface="Segoe UI" panose="020B0502040204020203" pitchFamily="34" charset="0"/>
              </a:rPr>
              <a:t> will not be included.</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article describes:</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tructure of the device twin: </a:t>
            </a:r>
            <a:r>
              <a:rPr lang="en-US" b="0" i="1" dirty="0">
                <a:solidFill>
                  <a:srgbClr val="171717"/>
                </a:solidFill>
                <a:effectLst/>
                <a:latin typeface="Segoe UI" panose="020B0502040204020203" pitchFamily="34" charset="0"/>
              </a:rPr>
              <a:t>tags</a:t>
            </a:r>
            <a:r>
              <a:rPr lang="en-US" b="0" i="0" dirty="0">
                <a:solidFill>
                  <a:srgbClr val="171717"/>
                </a:solidFill>
                <a:effectLst/>
                <a:latin typeface="Segoe UI" panose="020B0502040204020203" pitchFamily="34" charset="0"/>
              </a:rPr>
              <a:t>, </a:t>
            </a:r>
            <a:r>
              <a:rPr lang="en-US" b="0" i="1" dirty="0">
                <a:solidFill>
                  <a:srgbClr val="171717"/>
                </a:solidFill>
                <a:effectLst/>
                <a:latin typeface="Segoe UI" panose="020B0502040204020203" pitchFamily="34" charset="0"/>
              </a:rPr>
              <a:t>desired</a:t>
            </a:r>
            <a:r>
              <a:rPr lang="en-US" b="0" i="0" dirty="0">
                <a:solidFill>
                  <a:srgbClr val="171717"/>
                </a:solidFill>
                <a:effectLst/>
                <a:latin typeface="Segoe UI" panose="020B0502040204020203" pitchFamily="34" charset="0"/>
              </a:rPr>
              <a:t> and </a:t>
            </a:r>
            <a:r>
              <a:rPr lang="en-US" b="0" i="1" dirty="0">
                <a:solidFill>
                  <a:srgbClr val="171717"/>
                </a:solidFill>
                <a:effectLst/>
                <a:latin typeface="Segoe UI" panose="020B0502040204020203" pitchFamily="34" charset="0"/>
              </a:rPr>
              <a:t>reported properties</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operations that device apps and back ends can perform on device twins.</a:t>
            </a:r>
          </a:p>
          <a:p>
            <a:pPr algn="l"/>
            <a:r>
              <a:rPr lang="en-US" b="0" i="0" dirty="0">
                <a:solidFill>
                  <a:srgbClr val="171717"/>
                </a:solidFill>
                <a:effectLst/>
                <a:latin typeface="Segoe UI" panose="020B0502040204020203" pitchFamily="34" charset="0"/>
              </a:rPr>
              <a:t>Use device twins to:</a:t>
            </a:r>
          </a:p>
          <a:p>
            <a:pPr algn="l">
              <a:buFont typeface="Arial" panose="020B0604020202020204" pitchFamily="34" charset="0"/>
              <a:buChar char="•"/>
            </a:pPr>
            <a:r>
              <a:rPr lang="en-US" b="0" i="0" dirty="0">
                <a:solidFill>
                  <a:srgbClr val="171717"/>
                </a:solidFill>
                <a:effectLst/>
                <a:latin typeface="Segoe UI" panose="020B0502040204020203" pitchFamily="34" charset="0"/>
              </a:rPr>
              <a:t>Store device-specific metadata in the cloud. For example, the deployment location of a vending machine.</a:t>
            </a:r>
          </a:p>
          <a:p>
            <a:pPr algn="l">
              <a:buFont typeface="Arial" panose="020B0604020202020204" pitchFamily="34" charset="0"/>
              <a:buChar char="•"/>
            </a:pPr>
            <a:r>
              <a:rPr lang="en-US" b="0" i="0" dirty="0">
                <a:solidFill>
                  <a:srgbClr val="171717"/>
                </a:solidFill>
                <a:effectLst/>
                <a:latin typeface="Segoe UI" panose="020B0502040204020203" pitchFamily="34" charset="0"/>
              </a:rPr>
              <a:t>Report current state information such as available capabilities and conditions from your device app. For example, a device is connected to your IoT hub over cellular or </a:t>
            </a:r>
            <a:r>
              <a:rPr lang="en-US" b="0" i="0" dirty="0" err="1">
                <a:solidFill>
                  <a:srgbClr val="171717"/>
                </a:solidFill>
                <a:effectLst/>
                <a:latin typeface="Segoe UI" panose="020B0502040204020203" pitchFamily="34" charset="0"/>
              </a:rPr>
              <a:t>WiFi</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Synchronize the state of long-running workflows between device app and back-end app. For example, when the solution back end specifies the new firmware version to install, and the device app reports the various stages of the update process.</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7908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low</a:t>
            </a:r>
          </a:p>
          <a:p>
            <a:endParaRPr lang="en-US" dirty="0"/>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3">
                  <a:extLst>
                    <a:ext uri="{A12FA001-AC4F-418D-AE19-62706E023703}">
                      <ahyp:hlinkClr xmlns:ahyp="http://schemas.microsoft.com/office/drawing/2018/hyperlinkcolor" val="tx"/>
                    </a:ext>
                  </a:extLst>
                </a:hlinkClick>
              </a:rPr>
              <a:t>Direct method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communications that require immediate confirmation of the result. </a:t>
            </a:r>
          </a:p>
          <a:p>
            <a:pPr lvl="1" algn="l">
              <a:buFont typeface="Arial" panose="020B0604020202020204" pitchFamily="34" charset="0"/>
              <a:buChar char="•"/>
            </a:pPr>
            <a:r>
              <a:rPr lang="en-US" sz="1200" b="0" i="0" dirty="0">
                <a:solidFill>
                  <a:srgbClr val="171717"/>
                </a:solidFill>
                <a:effectLst/>
                <a:latin typeface="+mn-lt"/>
              </a:rPr>
              <a:t>Direct methods are often used for interactive control of devices such as turning on a fan.</a:t>
            </a:r>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4">
                  <a:extLst>
                    <a:ext uri="{A12FA001-AC4F-418D-AE19-62706E023703}">
                      <ahyp:hlinkClr xmlns:ahyp="http://schemas.microsoft.com/office/drawing/2018/hyperlinkcolor" val="tx"/>
                    </a:ext>
                  </a:extLst>
                </a:hlinkClick>
              </a:rPr>
              <a:t>Twin's desired propertie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long-running commands intended to put the device into a certain desired state. </a:t>
            </a:r>
          </a:p>
          <a:p>
            <a:pPr lvl="1" algn="l">
              <a:buFont typeface="Arial" panose="020B0604020202020204" pitchFamily="34" charset="0"/>
              <a:buChar char="•"/>
            </a:pPr>
            <a:r>
              <a:rPr lang="en-US" sz="1200" b="0" i="0" dirty="0">
                <a:solidFill>
                  <a:srgbClr val="171717"/>
                </a:solidFill>
                <a:effectLst/>
                <a:latin typeface="+mn-lt"/>
              </a:rPr>
              <a:t>For example, set the telemetry send interval to 30 minutes.</a:t>
            </a:r>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5">
                  <a:extLst>
                    <a:ext uri="{A12FA001-AC4F-418D-AE19-62706E023703}">
                      <ahyp:hlinkClr xmlns:ahyp="http://schemas.microsoft.com/office/drawing/2018/hyperlinkcolor" val="tx"/>
                    </a:ext>
                  </a:extLst>
                </a:hlinkClick>
              </a:rPr>
              <a:t>Cloud-to-device message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one-way notifications to the device app.</a:t>
            </a:r>
          </a:p>
          <a:p>
            <a:endParaRPr lang="en-US" dirty="0"/>
          </a:p>
          <a:p>
            <a:endParaRPr lang="en-US" dirty="0"/>
          </a:p>
          <a:p>
            <a:br>
              <a:rPr lang="en-US" dirty="0">
                <a:effectLst/>
              </a:rPr>
            </a:br>
            <a:r>
              <a:rPr lang="en-US" dirty="0">
                <a:effectLst/>
              </a:rPr>
              <a:t>Direct Methods: Two-way. The device app can respond to the method right away. The solution back end receives the outcome contextually to the request.</a:t>
            </a:r>
          </a:p>
          <a:p>
            <a:r>
              <a:rPr lang="en-US" b="1" i="0" dirty="0">
                <a:solidFill>
                  <a:srgbClr val="171717"/>
                </a:solidFill>
                <a:effectLst/>
                <a:latin typeface="Segoe UI" panose="020B0502040204020203" pitchFamily="34" charset="0"/>
              </a:rPr>
              <a:t>Twin's desired properties: </a:t>
            </a:r>
            <a:r>
              <a:rPr lang="en-US" b="0" i="0" dirty="0">
                <a:solidFill>
                  <a:srgbClr val="171717"/>
                </a:solidFill>
                <a:effectLst/>
                <a:latin typeface="Segoe UI" panose="020B0502040204020203" pitchFamily="34" charset="0"/>
              </a:rPr>
              <a:t>One-way. The device app receives a notification with the property change.</a:t>
            </a:r>
          </a:p>
          <a:p>
            <a:r>
              <a:rPr lang="en-US" b="0" i="0" dirty="0">
                <a:solidFill>
                  <a:srgbClr val="171717"/>
                </a:solidFill>
                <a:effectLst/>
                <a:latin typeface="Segoe UI" panose="020B0502040204020203" pitchFamily="34" charset="0"/>
              </a:rPr>
              <a:t>Cloud to device messages: One-way. The device app receives the message</a:t>
            </a:r>
          </a:p>
          <a:p>
            <a:endParaRPr lang="en-US" dirty="0">
              <a:effectLst/>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0460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Use IoT Hub message routing to send device-to-cloud messages to different endpoints</a:t>
            </a:r>
          </a:p>
          <a:p>
            <a:endParaRPr lang="en-AU" dirty="0"/>
          </a:p>
          <a:p>
            <a:r>
              <a:rPr lang="en-AU" dirty="0"/>
              <a:t>Our system must deal with messages arriving from a range of devices</a:t>
            </a:r>
          </a:p>
          <a:p>
            <a:endParaRPr lang="en-AU" dirty="0"/>
          </a:p>
          <a:p>
            <a:r>
              <a:rPr lang="en-AU" dirty="0"/>
              <a:t>There could be telemetry messages arrive HVAC systems, security sensors, lighting systems etc</a:t>
            </a:r>
          </a:p>
          <a:p>
            <a:endParaRPr lang="en-AU" dirty="0"/>
          </a:p>
          <a:p>
            <a:r>
              <a:rPr lang="en-AU" dirty="0"/>
              <a:t>Each message will have a different format, different time vale, destined for different back end systems etc</a:t>
            </a:r>
          </a:p>
          <a:p>
            <a:endParaRPr lang="en-AU" dirty="0"/>
          </a:p>
          <a:p>
            <a:r>
              <a:rPr lang="en-AU" dirty="0"/>
              <a:t>Now there are two patterns you could deploy to deal with this complexity</a:t>
            </a:r>
          </a:p>
          <a:p>
            <a:endParaRPr lang="en-AU" dirty="0"/>
          </a:p>
          <a:p>
            <a:pPr marL="228600" indent="-228600">
              <a:buFont typeface="+mj-lt"/>
              <a:buAutoNum type="arabicPeriod"/>
            </a:pPr>
            <a:r>
              <a:rPr lang="en-AU" dirty="0"/>
              <a:t>Now we could have 1 IoT hub per device type and application but that would quickly become expensive and difficult to manage</a:t>
            </a:r>
          </a:p>
          <a:p>
            <a:pPr marL="228600" indent="-228600">
              <a:buFont typeface="+mj-lt"/>
              <a:buAutoNum type="arabicPeriod"/>
            </a:pPr>
            <a:r>
              <a:rPr lang="en-AU" dirty="0"/>
              <a:t>Or more likely you have a consolidated set of IoT hubs and as messages flow into the system you will partition the messages ideally based on metadata but if JSON serialised message then you can also use the body of the message to route messages.</a:t>
            </a:r>
          </a:p>
          <a:p>
            <a:endParaRPr lang="en-AU" dirty="0"/>
          </a:p>
          <a:p>
            <a:r>
              <a:rPr lang="en-AU" dirty="0"/>
              <a:t>I’m going to assume you will most like what you use a consolidated set of IoT Hubs and route the messages</a:t>
            </a:r>
          </a:p>
          <a:p>
            <a:endParaRPr lang="en-AU" dirty="0"/>
          </a:p>
          <a:p>
            <a:r>
              <a:rPr lang="en-AU" dirty="0"/>
              <a:t>To that end IoT hub includes the alibility to route messages to different endpoints typically based on application, but could also include logging all messages entering the system for audit</a:t>
            </a:r>
          </a:p>
          <a:p>
            <a:endParaRPr lang="en-AU" dirty="0"/>
          </a:p>
          <a:p>
            <a:endParaRPr lang="en-AU" dirty="0"/>
          </a:p>
          <a:p>
            <a:pPr marL="0" marR="0" lvl="0" indent="0" algn="l" defTabSz="913434" rtl="0" eaLnBrk="1" fontAlgn="auto" latinLnBrk="0" hangingPunct="1">
              <a:lnSpc>
                <a:spcPct val="100000"/>
              </a:lnSpc>
              <a:spcBef>
                <a:spcPct val="0"/>
              </a:spcBef>
              <a:spcAft>
                <a:spcPts val="600"/>
              </a:spcAft>
              <a:buClrTx/>
              <a:buSzTx/>
              <a:buFontTx/>
              <a:buNone/>
              <a:tabLst/>
              <a:defRPr/>
            </a:pPr>
            <a:endParaRPr lang="en-AU" sz="1200" dirty="0">
              <a:gradFill>
                <a:gsLst>
                  <a:gs pos="0">
                    <a:srgbClr val="000000"/>
                  </a:gs>
                  <a:gs pos="100000">
                    <a:srgbClr val="000000"/>
                  </a:gs>
                </a:gsLst>
                <a:lin ang="5400000" scaled="0"/>
              </a:gradFill>
              <a:latin typeface="+mn-lt"/>
            </a:endParaRPr>
          </a:p>
          <a:p>
            <a:r>
              <a:rPr lang="en-US" b="0" i="0" dirty="0">
                <a:solidFill>
                  <a:srgbClr val="171717"/>
                </a:solidFill>
                <a:effectLst/>
                <a:latin typeface="Segoe UI" panose="020B0502040204020203" pitchFamily="34" charset="0"/>
              </a:rPr>
              <a:t>An IoT hub has a default built-in-endpoint (</a:t>
            </a:r>
            <a:r>
              <a:rPr lang="en-US" b="1" i="0" dirty="0">
                <a:solidFill>
                  <a:srgbClr val="171717"/>
                </a:solidFill>
                <a:effectLst/>
                <a:latin typeface="Segoe UI" panose="020B0502040204020203" pitchFamily="34" charset="0"/>
              </a:rPr>
              <a:t>messages/events</a:t>
            </a:r>
            <a:r>
              <a:rPr lang="en-US" b="0" i="0" dirty="0">
                <a:solidFill>
                  <a:srgbClr val="171717"/>
                </a:solidFill>
                <a:effectLst/>
                <a:latin typeface="Segoe UI" panose="020B0502040204020203" pitchFamily="34" charset="0"/>
              </a:rPr>
              <a:t>) that is compatible with Event Hubs. You can create </a:t>
            </a:r>
            <a:r>
              <a:rPr lang="en-US" b="0" i="0" u="none" strike="noStrike" dirty="0">
                <a:effectLst/>
                <a:latin typeface="Segoe UI" panose="020B0502040204020203" pitchFamily="34" charset="0"/>
                <a:hlinkClick r:id="rId3"/>
              </a:rPr>
              <a:t>custom endpoints</a:t>
            </a:r>
            <a:r>
              <a:rPr lang="en-US" b="0" i="0" dirty="0">
                <a:solidFill>
                  <a:srgbClr val="171717"/>
                </a:solidFill>
                <a:effectLst/>
                <a:latin typeface="Segoe UI" panose="020B0502040204020203" pitchFamily="34" charset="0"/>
              </a:rPr>
              <a:t> to route messages to by linking other services in your subscription to the IoT Hu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u="none" strike="noStrike" dirty="0">
                <a:solidFill>
                  <a:srgbClr val="171717"/>
                </a:solidFill>
                <a:effectLst/>
                <a:latin typeface="Segoe UI" panose="020B0502040204020203" pitchFamily="34" charset="0"/>
              </a:rPr>
              <a:t>Message enrichments</a:t>
            </a:r>
            <a:r>
              <a:rPr lang="en-US" b="0" i="0" u="none" strike="noStrike" dirty="0">
                <a:solidFill>
                  <a:srgbClr val="171717"/>
                </a:solidFill>
                <a:effectLst/>
                <a:latin typeface="Segoe UI" panose="020B0502040204020203" pitchFamily="34" charset="0"/>
              </a:rPr>
              <a:t> describes the ability of Azure IoT Hub to </a:t>
            </a:r>
            <a:r>
              <a:rPr lang="en-US" b="0" i="1" u="none" strike="noStrike" dirty="0">
                <a:solidFill>
                  <a:srgbClr val="171717"/>
                </a:solidFill>
                <a:effectLst/>
                <a:latin typeface="Segoe UI" panose="020B0502040204020203" pitchFamily="34" charset="0"/>
              </a:rPr>
              <a:t>stamp</a:t>
            </a:r>
            <a:r>
              <a:rPr lang="en-US" b="0" i="0" u="none" strike="noStrike" dirty="0">
                <a:solidFill>
                  <a:srgbClr val="171717"/>
                </a:solidFill>
                <a:effectLst/>
                <a:latin typeface="Segoe UI" panose="020B0502040204020203" pitchFamily="34" charset="0"/>
              </a:rPr>
              <a:t> messages with additional information before the messages are sent to the designated endpoi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oT Hub currently supports the following endpoints:</a:t>
            </a:r>
          </a:p>
          <a:p>
            <a:pPr algn="l">
              <a:buFont typeface="Arial" panose="020B0604020202020204" pitchFamily="34" charset="0"/>
              <a:buChar char="•"/>
            </a:pPr>
            <a:r>
              <a:rPr lang="en-US" b="0" i="0" dirty="0">
                <a:solidFill>
                  <a:srgbClr val="171717"/>
                </a:solidFill>
                <a:effectLst/>
                <a:latin typeface="Segoe UI" panose="020B0502040204020203" pitchFamily="34" charset="0"/>
              </a:rPr>
              <a:t>Built-in endpoint</a:t>
            </a:r>
          </a:p>
          <a:p>
            <a:pPr algn="l">
              <a:buFont typeface="Arial" panose="020B0604020202020204" pitchFamily="34" charset="0"/>
              <a:buChar char="•"/>
            </a:pPr>
            <a:r>
              <a:rPr lang="en-US" b="0" i="0" dirty="0">
                <a:solidFill>
                  <a:srgbClr val="171717"/>
                </a:solidFill>
                <a:effectLst/>
                <a:latin typeface="Segoe UI" panose="020B0502040204020203" pitchFamily="34" charset="0"/>
              </a:rPr>
              <a:t>Azure Storage</a:t>
            </a:r>
          </a:p>
          <a:p>
            <a:pPr algn="l">
              <a:buFont typeface="Arial" panose="020B0604020202020204" pitchFamily="34" charset="0"/>
              <a:buChar char="•"/>
            </a:pPr>
            <a:r>
              <a:rPr lang="en-US" b="0" i="0" dirty="0">
                <a:solidFill>
                  <a:srgbClr val="171717"/>
                </a:solidFill>
                <a:effectLst/>
                <a:latin typeface="Segoe UI" panose="020B0502040204020203" pitchFamily="34" charset="0"/>
              </a:rPr>
              <a:t>Service Bus Queues and Service Bus Topics</a:t>
            </a:r>
          </a:p>
          <a:p>
            <a:pPr algn="l">
              <a:buFont typeface="Arial" panose="020B0604020202020204" pitchFamily="34" charset="0"/>
              <a:buChar char="•"/>
            </a:pPr>
            <a:r>
              <a:rPr lang="en-US" b="0" i="0" dirty="0">
                <a:solidFill>
                  <a:srgbClr val="171717"/>
                </a:solidFill>
                <a:effectLst/>
                <a:latin typeface="Segoe UI" panose="020B0502040204020203" pitchFamily="34" charset="0"/>
              </a:rPr>
              <a:t>Event Hub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re are two storage services IoT Hub can route messages to -- </a:t>
            </a:r>
            <a:r>
              <a:rPr lang="en-US" b="0" i="0" u="none" strike="noStrike" dirty="0">
                <a:effectLst/>
                <a:latin typeface="Segoe UI" panose="020B0502040204020203" pitchFamily="34" charset="0"/>
                <a:hlinkClick r:id="rId4"/>
              </a:rPr>
              <a:t>Azure Blob Storage</a:t>
            </a:r>
            <a:r>
              <a:rPr lang="en-US" b="0" i="0" dirty="0">
                <a:solidFill>
                  <a:srgbClr val="171717"/>
                </a:solidFill>
                <a:effectLst/>
                <a:latin typeface="Segoe UI" panose="020B0502040204020203" pitchFamily="34" charset="0"/>
              </a:rPr>
              <a:t> and </a:t>
            </a:r>
            <a:r>
              <a:rPr lang="en-US" b="0" i="0" u="none" strike="noStrike" dirty="0">
                <a:effectLst/>
                <a:latin typeface="Segoe UI" panose="020B0502040204020203" pitchFamily="34" charset="0"/>
                <a:hlinkClick r:id="rId5"/>
              </a:rPr>
              <a:t>Azure Data Lake Storage Gen2</a:t>
            </a:r>
            <a:r>
              <a:rPr lang="en-US" b="0" i="0" dirty="0">
                <a:solidFill>
                  <a:srgbClr val="171717"/>
                </a:solidFill>
                <a:effectLst/>
                <a:latin typeface="Segoe UI" panose="020B0502040204020203" pitchFamily="34" charset="0"/>
              </a:rPr>
              <a:t> (ADLS Gen2) accounts. Azure Data Lake Storage accounts are </a:t>
            </a:r>
            <a:r>
              <a:rPr lang="en-US" b="0" i="0" u="none" strike="noStrike" dirty="0">
                <a:effectLst/>
                <a:latin typeface="Segoe UI" panose="020B0502040204020203" pitchFamily="34" charset="0"/>
                <a:hlinkClick r:id="rId6"/>
              </a:rPr>
              <a:t>hierarchical namespace</a:t>
            </a:r>
            <a:r>
              <a:rPr lang="en-US" b="0" i="0" dirty="0">
                <a:solidFill>
                  <a:srgbClr val="171717"/>
                </a:solidFill>
                <a:effectLst/>
                <a:latin typeface="Segoe UI" panose="020B0502040204020203" pitchFamily="34" charset="0"/>
              </a:rPr>
              <a:t>-enabled storage accounts built on top of blob storage. Both of these use blobs for their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br>
              <a:rPr lang="en-US" b="1" i="0" dirty="0">
                <a:solidFill>
                  <a:srgbClr val="171717"/>
                </a:solidFill>
                <a:effectLst/>
                <a:latin typeface="Segoe UI" panose="020B0502040204020203" pitchFamily="34" charset="0"/>
              </a:rPr>
            </a:br>
            <a:r>
              <a:rPr lang="en-US" b="1" i="0" dirty="0">
                <a:solidFill>
                  <a:srgbClr val="171717"/>
                </a:solidFill>
                <a:effectLst/>
                <a:latin typeface="Segoe UI" panose="020B0502040204020203" pitchFamily="34" charset="0"/>
              </a:rPr>
              <a:t>Non-telemetry events</a:t>
            </a:r>
          </a:p>
          <a:p>
            <a:pPr algn="l"/>
            <a:r>
              <a:rPr lang="en-US" b="0" i="0" dirty="0">
                <a:solidFill>
                  <a:srgbClr val="171717"/>
                </a:solidFill>
                <a:effectLst/>
                <a:latin typeface="Segoe UI" panose="020B0502040204020203" pitchFamily="34" charset="0"/>
              </a:rPr>
              <a:t>In addition to device telemetry, message routing also enables sending device twin change events, device lifecycle events, and digital twin change events. For example, if a route is created with data source set to </a:t>
            </a:r>
            <a:r>
              <a:rPr lang="en-US" b="1" i="0" dirty="0">
                <a:solidFill>
                  <a:srgbClr val="171717"/>
                </a:solidFill>
                <a:effectLst/>
                <a:latin typeface="Segoe UI" panose="020B0502040204020203" pitchFamily="34" charset="0"/>
              </a:rPr>
              <a:t>device twin change events</a:t>
            </a:r>
            <a:r>
              <a:rPr lang="en-US" b="0" i="0" dirty="0">
                <a:solidFill>
                  <a:srgbClr val="171717"/>
                </a:solidFill>
                <a:effectLst/>
                <a:latin typeface="Segoe UI" panose="020B0502040204020203" pitchFamily="34" charset="0"/>
              </a:rPr>
              <a:t>, IoT Hub sends messages to the endpoint that contain the change in the device twin. Similarly, if a route is created with data source set to </a:t>
            </a:r>
            <a:r>
              <a:rPr lang="en-US" b="1" i="0" dirty="0">
                <a:solidFill>
                  <a:srgbClr val="171717"/>
                </a:solidFill>
                <a:effectLst/>
                <a:latin typeface="Segoe UI" panose="020B0502040204020203" pitchFamily="34" charset="0"/>
              </a:rPr>
              <a:t>device lifecycle events</a:t>
            </a:r>
            <a:r>
              <a:rPr lang="en-US" b="0" i="0" dirty="0">
                <a:solidFill>
                  <a:srgbClr val="171717"/>
                </a:solidFill>
                <a:effectLst/>
                <a:latin typeface="Segoe UI" panose="020B0502040204020203" pitchFamily="34" charset="0"/>
              </a:rPr>
              <a:t>, IoT Hub sends a message indicating whether the device was deleted or created.</a:t>
            </a:r>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7891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An IoT hub has a default built-in-endpoint (</a:t>
            </a:r>
            <a:r>
              <a:rPr lang="en-US" b="1" i="0" dirty="0">
                <a:solidFill>
                  <a:srgbClr val="171717"/>
                </a:solidFill>
                <a:effectLst/>
                <a:latin typeface="Segoe UI" panose="020B0502040204020203" pitchFamily="34" charset="0"/>
              </a:rPr>
              <a:t>messages/events</a:t>
            </a:r>
            <a:r>
              <a:rPr lang="en-US" b="0" i="0" dirty="0">
                <a:solidFill>
                  <a:srgbClr val="171717"/>
                </a:solidFill>
                <a:effectLst/>
                <a:latin typeface="Segoe UI" panose="020B0502040204020203" pitchFamily="34" charset="0"/>
              </a:rPr>
              <a:t>) that is compatible with Event Hubs. You can create </a:t>
            </a:r>
            <a:r>
              <a:rPr lang="en-US" b="0" i="0" u="none" strike="noStrike" dirty="0">
                <a:effectLst/>
                <a:latin typeface="Segoe UI" panose="020B0502040204020203" pitchFamily="34" charset="0"/>
                <a:hlinkClick r:id="rId3"/>
              </a:rPr>
              <a:t>custom endpoints</a:t>
            </a:r>
            <a:r>
              <a:rPr lang="en-US" b="0" i="0" dirty="0">
                <a:solidFill>
                  <a:srgbClr val="171717"/>
                </a:solidFill>
                <a:effectLst/>
                <a:latin typeface="Segoe UI" panose="020B0502040204020203" pitchFamily="34" charset="0"/>
              </a:rPr>
              <a:t> to route messages to by linking other services in your subscription to the IoT Hu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u="none" strike="noStrike" dirty="0">
                <a:solidFill>
                  <a:srgbClr val="171717"/>
                </a:solidFill>
                <a:effectLst/>
                <a:latin typeface="Segoe UI" panose="020B0502040204020203" pitchFamily="34" charset="0"/>
              </a:rPr>
              <a:t>Message enrichments</a:t>
            </a:r>
            <a:r>
              <a:rPr lang="en-US" b="0" i="0" u="none" strike="noStrike" dirty="0">
                <a:solidFill>
                  <a:srgbClr val="171717"/>
                </a:solidFill>
                <a:effectLst/>
                <a:latin typeface="Segoe UI" panose="020B0502040204020203" pitchFamily="34" charset="0"/>
              </a:rPr>
              <a:t> describes the ability of Azure IoT Hub to </a:t>
            </a:r>
            <a:r>
              <a:rPr lang="en-US" b="0" i="1" u="none" strike="noStrike" dirty="0">
                <a:solidFill>
                  <a:srgbClr val="171717"/>
                </a:solidFill>
                <a:effectLst/>
                <a:latin typeface="Segoe UI" panose="020B0502040204020203" pitchFamily="34" charset="0"/>
              </a:rPr>
              <a:t>stamp</a:t>
            </a:r>
            <a:r>
              <a:rPr lang="en-US" b="0" i="0" u="none" strike="noStrike" dirty="0">
                <a:solidFill>
                  <a:srgbClr val="171717"/>
                </a:solidFill>
                <a:effectLst/>
                <a:latin typeface="Segoe UI" panose="020B0502040204020203" pitchFamily="34" charset="0"/>
              </a:rPr>
              <a:t> messages with additional information before the messages are sent to the designated endpoi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oT Hub currently supports the following endpoints:</a:t>
            </a:r>
          </a:p>
          <a:p>
            <a:pPr algn="l">
              <a:buFont typeface="Arial" panose="020B0604020202020204" pitchFamily="34" charset="0"/>
              <a:buChar char="•"/>
            </a:pPr>
            <a:r>
              <a:rPr lang="en-US" b="0" i="0" dirty="0">
                <a:solidFill>
                  <a:srgbClr val="171717"/>
                </a:solidFill>
                <a:effectLst/>
                <a:latin typeface="Segoe UI" panose="020B0502040204020203" pitchFamily="34" charset="0"/>
              </a:rPr>
              <a:t>Built-in endpoint</a:t>
            </a:r>
          </a:p>
          <a:p>
            <a:pPr algn="l">
              <a:buFont typeface="Arial" panose="020B0604020202020204" pitchFamily="34" charset="0"/>
              <a:buChar char="•"/>
            </a:pPr>
            <a:r>
              <a:rPr lang="en-US" b="0" i="0" dirty="0">
                <a:solidFill>
                  <a:srgbClr val="171717"/>
                </a:solidFill>
                <a:effectLst/>
                <a:latin typeface="Segoe UI" panose="020B0502040204020203" pitchFamily="34" charset="0"/>
              </a:rPr>
              <a:t>Azure Storage</a:t>
            </a:r>
          </a:p>
          <a:p>
            <a:pPr algn="l">
              <a:buFont typeface="Arial" panose="020B0604020202020204" pitchFamily="34" charset="0"/>
              <a:buChar char="•"/>
            </a:pPr>
            <a:r>
              <a:rPr lang="en-US" b="0" i="0" dirty="0">
                <a:solidFill>
                  <a:srgbClr val="171717"/>
                </a:solidFill>
                <a:effectLst/>
                <a:latin typeface="Segoe UI" panose="020B0502040204020203" pitchFamily="34" charset="0"/>
              </a:rPr>
              <a:t>Service Bus Queues and Service Bus Topics</a:t>
            </a:r>
          </a:p>
          <a:p>
            <a:pPr algn="l">
              <a:buFont typeface="Arial" panose="020B0604020202020204" pitchFamily="34" charset="0"/>
              <a:buChar char="•"/>
            </a:pPr>
            <a:r>
              <a:rPr lang="en-US" b="0" i="0" dirty="0">
                <a:solidFill>
                  <a:srgbClr val="171717"/>
                </a:solidFill>
                <a:effectLst/>
                <a:latin typeface="Segoe UI" panose="020B0502040204020203" pitchFamily="34" charset="0"/>
              </a:rPr>
              <a:t>Event Hub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re are two storage services IoT Hub can route messages to -- </a:t>
            </a:r>
            <a:r>
              <a:rPr lang="en-US" b="0" i="0" u="none" strike="noStrike" dirty="0">
                <a:effectLst/>
                <a:latin typeface="Segoe UI" panose="020B0502040204020203" pitchFamily="34" charset="0"/>
                <a:hlinkClick r:id="rId4"/>
              </a:rPr>
              <a:t>Azure Blob Storage</a:t>
            </a:r>
            <a:r>
              <a:rPr lang="en-US" b="0" i="0" dirty="0">
                <a:solidFill>
                  <a:srgbClr val="171717"/>
                </a:solidFill>
                <a:effectLst/>
                <a:latin typeface="Segoe UI" panose="020B0502040204020203" pitchFamily="34" charset="0"/>
              </a:rPr>
              <a:t> and </a:t>
            </a:r>
            <a:r>
              <a:rPr lang="en-US" b="0" i="0" u="none" strike="noStrike" dirty="0">
                <a:effectLst/>
                <a:latin typeface="Segoe UI" panose="020B0502040204020203" pitchFamily="34" charset="0"/>
                <a:hlinkClick r:id="rId5"/>
              </a:rPr>
              <a:t>Azure Data Lake Storage Gen2</a:t>
            </a:r>
            <a:r>
              <a:rPr lang="en-US" b="0" i="0" dirty="0">
                <a:solidFill>
                  <a:srgbClr val="171717"/>
                </a:solidFill>
                <a:effectLst/>
                <a:latin typeface="Segoe UI" panose="020B0502040204020203" pitchFamily="34" charset="0"/>
              </a:rPr>
              <a:t> (ADLS Gen2) accounts. Azure Data Lake Storage accounts are </a:t>
            </a:r>
            <a:r>
              <a:rPr lang="en-US" b="0" i="0" u="none" strike="noStrike" dirty="0">
                <a:effectLst/>
                <a:latin typeface="Segoe UI" panose="020B0502040204020203" pitchFamily="34" charset="0"/>
                <a:hlinkClick r:id="rId6"/>
              </a:rPr>
              <a:t>hierarchical namespace</a:t>
            </a:r>
            <a:r>
              <a:rPr lang="en-US" b="0" i="0" dirty="0">
                <a:solidFill>
                  <a:srgbClr val="171717"/>
                </a:solidFill>
                <a:effectLst/>
                <a:latin typeface="Segoe UI" panose="020B0502040204020203" pitchFamily="34" charset="0"/>
              </a:rPr>
              <a:t>-enabled storage accounts built on top of blob storage. Both of these use blobs for their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br>
              <a:rPr lang="en-US" b="1" i="0" dirty="0">
                <a:solidFill>
                  <a:srgbClr val="171717"/>
                </a:solidFill>
                <a:effectLst/>
                <a:latin typeface="Segoe UI" panose="020B0502040204020203" pitchFamily="34" charset="0"/>
              </a:rPr>
            </a:br>
            <a:r>
              <a:rPr lang="en-US" b="1" i="0" dirty="0">
                <a:solidFill>
                  <a:srgbClr val="171717"/>
                </a:solidFill>
                <a:effectLst/>
                <a:latin typeface="Segoe UI" panose="020B0502040204020203" pitchFamily="34" charset="0"/>
              </a:rPr>
              <a:t>Non-telemetry events</a:t>
            </a:r>
          </a:p>
          <a:p>
            <a:pPr algn="l"/>
            <a:r>
              <a:rPr lang="en-US" b="0" i="0" dirty="0">
                <a:solidFill>
                  <a:srgbClr val="171717"/>
                </a:solidFill>
                <a:effectLst/>
                <a:latin typeface="Segoe UI" panose="020B0502040204020203" pitchFamily="34" charset="0"/>
              </a:rPr>
              <a:t>In addition to device telemetry, message routing also enables sending device twin change events, device lifecycle events, and digital twin change events. For example, if a route is created with data source set to </a:t>
            </a:r>
            <a:r>
              <a:rPr lang="en-US" b="1" i="0" dirty="0">
                <a:solidFill>
                  <a:srgbClr val="171717"/>
                </a:solidFill>
                <a:effectLst/>
                <a:latin typeface="Segoe UI" panose="020B0502040204020203" pitchFamily="34" charset="0"/>
              </a:rPr>
              <a:t>device twin change events</a:t>
            </a:r>
            <a:r>
              <a:rPr lang="en-US" b="0" i="0" dirty="0">
                <a:solidFill>
                  <a:srgbClr val="171717"/>
                </a:solidFill>
                <a:effectLst/>
                <a:latin typeface="Segoe UI" panose="020B0502040204020203" pitchFamily="34" charset="0"/>
              </a:rPr>
              <a:t>, IoT Hub sends messages to the endpoint that contain the change in the device twin. Similarly, if a route is created with data source set to </a:t>
            </a:r>
            <a:r>
              <a:rPr lang="en-US" b="1" i="0" dirty="0">
                <a:solidFill>
                  <a:srgbClr val="171717"/>
                </a:solidFill>
                <a:effectLst/>
                <a:latin typeface="Segoe UI" panose="020B0502040204020203" pitchFamily="34" charset="0"/>
              </a:rPr>
              <a:t>device lifecycle events</a:t>
            </a:r>
            <a:r>
              <a:rPr lang="en-US" b="0" i="0" dirty="0">
                <a:solidFill>
                  <a:srgbClr val="171717"/>
                </a:solidFill>
                <a:effectLst/>
                <a:latin typeface="Segoe UI" panose="020B0502040204020203" pitchFamily="34" charset="0"/>
              </a:rPr>
              <a:t>, IoT Hub sends a message indicating whether the device was deleted or cre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5772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solidFill>
                  <a:srgbClr val="171717"/>
                </a:solidFill>
                <a:effectLst/>
                <a:latin typeface="Segoe UI" panose="020B0502040204020203" pitchFamily="34" charset="0"/>
              </a:rPr>
              <a:t>Azure IoT Hub integrates with Azure Event Grid so that you can send event notifications to other services and trigger downstream processes.</a:t>
            </a:r>
          </a:p>
          <a:p>
            <a:endParaRPr lang="en-US" b="0" i="0" u="none" strike="noStrike" dirty="0">
              <a:solidFill>
                <a:srgbClr val="171717"/>
              </a:solidFill>
              <a:effectLst/>
              <a:latin typeface="Segoe UI" panose="020B0502040204020203" pitchFamily="34" charset="0"/>
            </a:endParaRPr>
          </a:p>
          <a:p>
            <a:r>
              <a:rPr lang="en-US" b="0" i="0" u="none" strike="noStrike" dirty="0">
                <a:solidFill>
                  <a:srgbClr val="171717"/>
                </a:solidFill>
                <a:effectLst/>
                <a:latin typeface="Segoe UI" panose="020B0502040204020203" pitchFamily="34" charset="0"/>
              </a:rPr>
              <a:t>For example: If I wanted to create an alert to send an email whenever a new device is created, I could create a Logic App and IoT Hub event subscriptions </a:t>
            </a:r>
          </a:p>
          <a:p>
            <a:endParaRPr lang="en-US" b="0" i="0" u="none" strike="noStrike" dirty="0">
              <a:solidFill>
                <a:srgbClr val="171717"/>
              </a:solidFill>
              <a:effectLst/>
              <a:latin typeface="Segoe UI" panose="020B0502040204020203" pitchFamily="34" charset="0"/>
            </a:endParaRPr>
          </a:p>
          <a:p>
            <a:pPr algn="l"/>
            <a:r>
              <a:rPr lang="en-US" b="1" i="0" u="none" strike="noStrike" dirty="0">
                <a:solidFill>
                  <a:srgbClr val="171717"/>
                </a:solidFill>
                <a:effectLst/>
                <a:latin typeface="Segoe UI" panose="020B0502040204020203" pitchFamily="34" charset="0"/>
              </a:rPr>
              <a:t>Filter events</a:t>
            </a:r>
          </a:p>
          <a:p>
            <a:pPr algn="l"/>
            <a:r>
              <a:rPr lang="en-US" b="0" i="0" u="none" strike="noStrike" dirty="0">
                <a:solidFill>
                  <a:srgbClr val="171717"/>
                </a:solidFill>
                <a:effectLst/>
                <a:latin typeface="Segoe UI" panose="020B0502040204020203" pitchFamily="34" charset="0"/>
              </a:rPr>
              <a:t>IoT Hub event subscriptions can filter events based on event type, data content and subject, which is the device name.</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7268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gradFill>
                  <a:gsLst>
                    <a:gs pos="0">
                      <a:schemeClr val="accent5"/>
                    </a:gs>
                    <a:gs pos="100000">
                      <a:schemeClr val="accent4"/>
                    </a:gs>
                  </a:gsLst>
                  <a:lin ang="2700000" scaled="1"/>
                </a:gradFill>
              </a:rPr>
              <a:t>Transform your business with I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o start this series, we’ll explain how the Internet of Things (IoT) addresses the problems of efficiency, productivity, safety, and security. We’ll describe Azure IoT components and explain how you combine them to create value for enterprises, enabling digital feedback loops for solutions that extend beyond telemetry with analytics and edge solutions that provide real-time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Azure dashboard and resource group.</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IoT hub using the Azure portal.</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Examine features of Azure IoT Hub.</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 device provisioning service and link it to your IoT hub.</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b="1" dirty="0"/>
          </a:p>
          <a:p>
            <a:r>
              <a:rPr lang="en-US" b="1" dirty="0"/>
              <a:t>Connect devices to th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In this session, you’ll learn how to set up the development environment used throughout this series. We’ll cover how to connect an IoT device that includes temperature and humidity sensors to Azure. In the labs, you’ll configure a simulated device to connect to Azure IoT Hub. Then you’ll run the simulated device to send telemetry messages and verify that device telemetry is being received.</a:t>
            </a:r>
          </a:p>
          <a:p>
            <a:endParaRPr lang="en-US" dirty="0"/>
          </a:p>
          <a:p>
            <a:r>
              <a:rPr lang="en-US" b="1" dirty="0"/>
              <a:t>Provision devices at Sc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his portion of the workshop walks through a hypothetical asset-monitoring solution that requires IoT devices with sensors for tracking location, temperature, and pressure to be placed in product transport boxes. When a new box enters the system, it is equipped with the new IoT device. The device needs to be </a:t>
            </a:r>
            <a:r>
              <a:rPr lang="en-US" sz="1800" dirty="0" err="1">
                <a:effectLst/>
                <a:latin typeface="Calibri" panose="020F0502020204030204" pitchFamily="34" charset="0"/>
                <a:ea typeface="Calibri" panose="020F0502020204030204" pitchFamily="34" charset="0"/>
              </a:rPr>
              <a:t>autoprovisioned</a:t>
            </a:r>
            <a:r>
              <a:rPr lang="en-US" sz="1800" dirty="0">
                <a:effectLst/>
                <a:latin typeface="Calibri" panose="020F0502020204030204" pitchFamily="34" charset="0"/>
                <a:ea typeface="Calibri" panose="020F0502020204030204" pitchFamily="34" charset="0"/>
              </a:rPr>
              <a:t> to the IoT hub using Azure’s device provisioning service. When the box arrives, the sensor is removed from the box and needs to be “decommissioned” through the device provisioning service. You’ll learn how you can use the device provisioning service to enroll many devices automatically and securely using X.509 certificate authentication.</a:t>
            </a:r>
          </a:p>
          <a:p>
            <a:endParaRPr lang="en-US" dirty="0"/>
          </a:p>
          <a:p>
            <a:r>
              <a:rPr lang="en-US" b="1" dirty="0"/>
              <a:t>Understand IoT message processing analytics and business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Preventive maintenance is a key IoT scenario—detect that something is wrong before there is any damage. In this module, you’ll write code to send continuous telemetry to an IoT hub that will use Azure Stream Analytics and a built-in machine learning model to warn of anomalies. Using Power BI to visualize the data stream, you’ll create an event subscription within Azure IoT Hub to set up Azure Event Grid integration that will trigger a logic app to send an alert. We’ll also cover working with time series data using Azure Time Series Insights.</a:t>
            </a:r>
          </a:p>
          <a:p>
            <a:endParaRPr lang="en-US" dirty="0"/>
          </a:p>
          <a:p>
            <a:r>
              <a:rPr lang="en-US" b="1" dirty="0"/>
              <a:t>Build the intelligent 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With the collection of large amounts of data and the need for urgent responses, you’ll want to bring the intelligence to the edge for processing data and only send the important data to the cloud. We’ll take a deep dive on using an Azure IoT Edge device as a gateway and you’ll learn the different scenarios where an IoT Edge device is on an enterprise network (needs proxy settings) or needs extended offline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a:r>
              <a:rPr lang="en-US" sz="1800" dirty="0">
                <a:effectLst/>
                <a:latin typeface="Calibri" panose="020F0502020204030204" pitchFamily="34" charset="0"/>
                <a:ea typeface="Calibri" panose="020F0502020204030204" pitchFamily="34" charset="0"/>
              </a:rPr>
              <a:t> Build solutions with IoT Central</a:t>
            </a:r>
          </a:p>
          <a:p>
            <a:pPr marL="0" marR="0"/>
            <a:r>
              <a:rPr lang="en-US" sz="1800" dirty="0">
                <a:effectLst/>
                <a:latin typeface="Calibri" panose="020F0502020204030204" pitchFamily="34" charset="0"/>
                <a:ea typeface="Calibri" panose="020F0502020204030204" pitchFamily="34" charset="0"/>
              </a:rPr>
              <a:t>Designed to enable the easy monitoring and management of a fleet of devices, Azure IoT Central encompasses a range of underlying technologies that work together well but can be complicated to implement when many technologies are needed. These technologies include Azure IoT Hub, the Azure device provisioning service, Azure Maps, and others. We’ll also take a look at IoT Plug and Play to interact with a device's capabilities even without knowledge of the underlying device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2</a:t>
            </a:fld>
            <a:endParaRPr lang="en-US"/>
          </a:p>
        </p:txBody>
      </p:sp>
    </p:spTree>
    <p:extLst>
      <p:ext uri="{BB962C8B-B14F-4D97-AF65-F5344CB8AC3E}">
        <p14:creationId xmlns:p14="http://schemas.microsoft.com/office/powerpoint/2010/main" val="2538228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00"/>
                </a:solidFill>
                <a:latin typeface="Calibri"/>
                <a:ea typeface="Times New Roman" panose="02020603050405020304" pitchFamily="18" charset="0"/>
                <a:cs typeface="Calibri"/>
              </a:rPr>
              <a:t>To address these key customer pain-points, we are expanding the management capabilities provided to you by Azure IoT platform, by introducing the new Device Update for IoT Hub. </a:t>
            </a: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effectLst/>
                <a:latin typeface="Calibri"/>
                <a:ea typeface="Times New Roman" panose="02020603050405020304" pitchFamily="18" charset="0"/>
                <a:cs typeface="Calibri"/>
              </a:rPr>
              <a:t>Device Update for IoT Hub is an end-to-end platform for IoT device builders and solution integrators who want their customers to get the most value from their Azure IoT-enabled products. The platform simplifies and accelerates the time-consuming task of keeping every device across an IoT ecosystem up to date with the latest security and feature updates. </a:t>
            </a:r>
            <a:endParaRPr lang="en-US" dirty="0">
              <a:solidFill>
                <a:srgbClr val="000000"/>
              </a:solidFill>
              <a:latin typeface="Calibri"/>
              <a:ea typeface="Times New Roman" panose="02020603050405020304" pitchFamily="18" charset="0"/>
              <a:cs typeface="Calibri"/>
            </a:endParaRP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latin typeface="Calibri"/>
                <a:ea typeface="Times New Roman" panose="02020603050405020304" pitchFamily="18" charset="0"/>
                <a:cs typeface="Calibri"/>
              </a:rPr>
              <a:t>----------</a:t>
            </a: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effectLst/>
                <a:latin typeface="Calibri"/>
                <a:ea typeface="Times New Roman" panose="02020603050405020304" pitchFamily="18" charset="0"/>
                <a:cs typeface="Calibri"/>
              </a:rPr>
              <a:t>Device Update for IoT Hub provides an on-network caching solution to enable updating of more complex topologies involving internet-isolated leaf and Nested Edge devices and is compatible with open-source solutions. It implements robust security measures for a safe updating experience, while rich management controls and reporting ensure that customers stay in control of the update process.</a:t>
            </a:r>
            <a:r>
              <a:rPr lang="en-US" sz="1800" dirty="0">
                <a:solidFill>
                  <a:srgbClr val="000000"/>
                </a:solidFill>
                <a:latin typeface="Calibri"/>
                <a:ea typeface="Times New Roman" panose="02020603050405020304" pitchFamily="18" charset="0"/>
                <a:cs typeface="Calibri"/>
              </a:rPr>
              <a:t>  </a:t>
            </a:r>
            <a:endParaRPr lang="en-US" dirty="0">
              <a:cs typeface="Calibri"/>
            </a:endParaRPr>
          </a:p>
          <a:p>
            <a:pPr marL="0" marR="0"/>
            <a:endParaRPr lang="en-US" sz="1800" dirty="0">
              <a:effectLst/>
              <a:latin typeface="Times New Roman" panose="02020603050405020304" pitchFamily="18" charset="0"/>
              <a:ea typeface="Times New Roman" panose="02020603050405020304" pitchFamily="18" charset="0"/>
            </a:endParaRPr>
          </a:p>
          <a:p>
            <a:pPr marL="342900" marR="0" lvl="0" indent="-342900">
              <a:buFont typeface="Symbol" panose="05050102010706020507" pitchFamily="18" charset="2"/>
              <a:buChar char=""/>
            </a:pPr>
            <a:r>
              <a:rPr lang="en-US" sz="1800" b="1" dirty="0">
                <a:solidFill>
                  <a:srgbClr val="000000"/>
                </a:solidFill>
                <a:effectLst/>
                <a:latin typeface="Calibri"/>
                <a:ea typeface="Times New Roman" panose="02020603050405020304" pitchFamily="18" charset="0"/>
                <a:cs typeface="Calibri"/>
              </a:rPr>
              <a:t>Device Builders:</a:t>
            </a:r>
            <a:r>
              <a:rPr lang="en-US" sz="1800" dirty="0">
                <a:solidFill>
                  <a:srgbClr val="000000"/>
                </a:solidFill>
                <a:effectLst/>
                <a:latin typeface="Calibri"/>
                <a:ea typeface="Times New Roman" panose="02020603050405020304" pitchFamily="18" charset="0"/>
                <a:cs typeface="Calibri"/>
              </a:rPr>
              <a:t> Whether you or your customers will be responsible for updating the devices you sell, you can make your IoT products more compelling for potential customers by preinstalling Device Update for IoT Hub so keeping devices updated is simple, secure, and reliable.</a:t>
            </a:r>
            <a:endParaRPr lang="en-US" sz="1800" b="0" dirty="0">
              <a:solidFill>
                <a:srgbClr val="000000"/>
              </a:solidFill>
              <a:effectLst/>
              <a:latin typeface="Calibri"/>
              <a:ea typeface="Times New Roman" panose="02020603050405020304" pitchFamily="18" charset="0"/>
              <a:cs typeface="Calibri"/>
            </a:endParaRPr>
          </a:p>
          <a:p>
            <a:pPr marL="342900" indent="-342900">
              <a:buFont typeface="Symbol" panose="05050102010706020507" pitchFamily="18" charset="2"/>
              <a:buChar char=""/>
            </a:pPr>
            <a:r>
              <a:rPr lang="en-US" sz="1800" b="1" dirty="0">
                <a:effectLst/>
                <a:latin typeface="Calibri"/>
                <a:ea typeface="Calibri" panose="020F0502020204030204" pitchFamily="34" charset="0"/>
                <a:cs typeface="Calibri"/>
              </a:rPr>
              <a:t>Solution Integrators &amp; Device Builders: </a:t>
            </a:r>
            <a:r>
              <a:rPr lang="en-US" sz="1800" dirty="0">
                <a:effectLst/>
                <a:latin typeface="Calibri"/>
                <a:ea typeface="Calibri" panose="020F0502020204030204" pitchFamily="34" charset="0"/>
                <a:cs typeface="Calibri"/>
              </a:rPr>
              <a:t>If you manage or deploy updates for customers, Device Update for IoT Hub has the capabilities you need to rapidly deploy over-the-air updates for everything from tiny sensor devices to gateway-level devices.</a:t>
            </a:r>
            <a:r>
              <a:rPr lang="en-US" sz="1800" dirty="0">
                <a:latin typeface="Calibri"/>
                <a:ea typeface="Calibri" panose="020F0502020204030204" pitchFamily="34" charset="0"/>
                <a:cs typeface="Calibri"/>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E6BCA0-944D-48EC-AD7E-A46F6D3C98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563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a:cs typeface="Segoe UI"/>
              </a:rPr>
              <a:t>Let's take a look at the features that are provided with Device Update-</a:t>
            </a:r>
          </a:p>
          <a:p>
            <a:r>
              <a:rPr lang="en-US" sz="1000" dirty="0">
                <a:latin typeface="Segoe UI"/>
                <a:cs typeface="Segoe UI"/>
              </a:rPr>
              <a:t>Device Update provides APIs for importing, distributing and managing updates, so partners can choose to build their own custom portal and experiences on top of it</a:t>
            </a:r>
            <a:endParaRPr lang="en-US" sz="1000" dirty="0">
              <a:latin typeface="Segoe UI" panose="020B0502040204020203" pitchFamily="34" charset="0"/>
              <a:cs typeface="Segoe UI" panose="020B0502040204020203" pitchFamily="34" charset="0"/>
            </a:endParaRPr>
          </a:p>
          <a:p>
            <a:r>
              <a:rPr lang="en-US" sz="1000" dirty="0">
                <a:latin typeface="Segoe UI"/>
                <a:cs typeface="Segoe UI"/>
              </a:rPr>
              <a:t>We also provide a seamless UX experience in Azure Portal integrated with IoT Hub</a:t>
            </a:r>
          </a:p>
          <a:p>
            <a:r>
              <a:rPr lang="en-US" sz="1000" dirty="0">
                <a:latin typeface="Segoe UI"/>
                <a:cs typeface="Segoe UI"/>
              </a:rPr>
              <a:t>There is broad support for various IoT operating systems like Linux, Azure RTOS and platforms like Azure IoT Edge and Azure Percept. All of our agents are completely open-source so they can be extended to any configuration that you have running in your ecosystem</a:t>
            </a:r>
          </a:p>
          <a:p>
            <a:r>
              <a:rPr lang="en-US" sz="1000" dirty="0">
                <a:latin typeface="Segoe UI"/>
                <a:cs typeface="Segoe UI"/>
              </a:rPr>
              <a:t>A unique offering of Device Update is the in-built support for Microsoft Connected Cache that enables updates for cloud disconnected devices downstream of an Edge gateway as well as in nested topologies </a:t>
            </a:r>
          </a:p>
          <a:p>
            <a:r>
              <a:rPr lang="en-US" sz="1000" dirty="0">
                <a:latin typeface="Segoe UI"/>
                <a:cs typeface="Segoe UI"/>
              </a:rPr>
              <a:t>And lastly, Device update provides robust management and reporting tools that help keep customers informed and in control of the update process</a:t>
            </a:r>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F40DD-CE06-45C2-8DA7-92D5B712F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367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Bef>
                <a:spcPct val="0"/>
              </a:spcBef>
              <a:spcAft>
                <a:spcPct val="0"/>
              </a:spcAft>
              <a:defRPr/>
            </a:pPr>
            <a:r>
              <a:rPr lang="en-US" altLang="en-US" sz="1800" b="1" dirty="0">
                <a:latin typeface="Segoe UI Semibold"/>
                <a:cs typeface="Segoe UI Semibold"/>
              </a:rPr>
              <a:t>Now let's take a look at how you can get started with Device Update for IoT Hub. </a:t>
            </a:r>
            <a:endParaRPr lang="en-US" altLang="en-US" sz="1800" b="1" dirty="0">
              <a:solidFill>
                <a:srgbClr val="002E50"/>
              </a:solidFill>
              <a:latin typeface="Segoe UI Semibold"/>
              <a:cs typeface="Segoe UI Semibold"/>
            </a:endParaRPr>
          </a:p>
          <a:p>
            <a:pPr>
              <a:spcBef>
                <a:spcPct val="0"/>
              </a:spcBef>
              <a:spcAft>
                <a:spcPct val="0"/>
              </a:spcAft>
              <a:defRPr/>
            </a:pPr>
            <a:r>
              <a:rPr lang="en-US" altLang="en-US" sz="1800" b="1" dirty="0">
                <a:solidFill>
                  <a:srgbClr val="000000"/>
                </a:solidFill>
                <a:latin typeface="Segoe UI Semibold"/>
                <a:cs typeface="Segoe UI Semibold"/>
              </a:rPr>
              <a:t>You can provision the Device Update resource from the Azure Marketplace on a new or existing Azure subscription. Provide access to different users or groups within your organization to the platform. You can connect a Device Update instance to a new or existing IoT Hub. Next, you have to install and provision the device update agent on your IoT device. You can use IoT Hub tags to group various devices which enable you to gradually deploy your update. For example you may group devices based on whether they are test or production, based on the region where they are deployed etc. Next import an update into your Device Update instance and then schedule a deployment to the group of devices you created above. You can then monitor the status to discover which of your devices are compliant with the latest update and which devices are not.   </a:t>
            </a:r>
          </a:p>
          <a:p>
            <a:pPr marL="457200" indent="-457200">
              <a:spcBef>
                <a:spcPct val="0"/>
              </a:spcBef>
              <a:spcAft>
                <a:spcPct val="0"/>
              </a:spcAft>
              <a:buAutoNum type="arabicPeriod"/>
              <a:defRPr/>
            </a:pPr>
            <a:endParaRPr lang="en-US" altLang="en-US" sz="1800" b="1" dirty="0">
              <a:solidFill>
                <a:srgbClr val="50E6FF"/>
              </a:solidFill>
              <a:latin typeface="Segoe UI Semibold"/>
              <a:cs typeface="Segoe UI Semibold"/>
            </a:endParaRPr>
          </a:p>
          <a:p>
            <a:pPr marL="457200" indent="-457200">
              <a:spcBef>
                <a:spcPct val="0"/>
              </a:spcBef>
              <a:spcAft>
                <a:spcPct val="0"/>
              </a:spcAft>
              <a:buAutoNum type="arabicPeriod"/>
              <a:defRPr/>
            </a:pPr>
            <a:endParaRPr lang="en-US" altLang="en-US" sz="1800" b="1" dirty="0">
              <a:solidFill>
                <a:srgbClr val="50E6FF"/>
              </a:solidFill>
              <a:latin typeface="Segoe UI Semibold"/>
            </a:endParaRPr>
          </a:p>
          <a:p>
            <a:pPr marL="457200" indent="-457200">
              <a:spcBef>
                <a:spcPct val="0"/>
              </a:spcBef>
              <a:spcAft>
                <a:spcPct val="0"/>
              </a:spcAft>
              <a:buAutoNum type="arabicPeriod"/>
              <a:defRPr/>
            </a:pPr>
            <a:endParaRPr lang="en-US" altLang="en-US" sz="1800" b="1" dirty="0">
              <a:solidFill>
                <a:srgbClr val="50E6FF"/>
              </a:solidFill>
              <a:latin typeface="Segoe UI Semibold"/>
            </a:endParaRPr>
          </a:p>
          <a:p>
            <a:pPr marL="457200" marR="0" lvl="0" indent="-457200" defTabSz="914400">
              <a:lnSpc>
                <a:spcPct val="100000"/>
              </a:lnSpc>
              <a:spcBef>
                <a:spcPct val="0"/>
              </a:spcBef>
              <a:spcAft>
                <a:spcPct val="0"/>
              </a:spcAft>
              <a:buClrTx/>
              <a:buSzTx/>
              <a:buAutoNum type="arabicPeriod"/>
              <a:tabLst/>
              <a:defRPr/>
            </a:pPr>
            <a:r>
              <a:rPr kumimoji="0" lang="en-US" altLang="en-US" sz="1800" b="1" i="0" u="none" strike="noStrike" kern="1200" cap="none" spc="0" normalizeH="0" baseline="0" noProof="0" dirty="0">
                <a:ln>
                  <a:noFill/>
                </a:ln>
                <a:solidFill>
                  <a:srgbClr val="50E6FF"/>
                </a:solidFill>
                <a:effectLst/>
                <a:uLnTx/>
                <a:uFillTx/>
                <a:latin typeface="Segoe UI Semibold"/>
                <a:ea typeface="+mn-ea"/>
                <a:cs typeface="+mn-cs"/>
              </a:rPr>
              <a:t>Subscribe</a:t>
            </a:r>
            <a:r>
              <a:rPr lang="en-US" altLang="en-US" sz="1800" b="1" dirty="0">
                <a:solidFill>
                  <a:srgbClr val="FFFFFF"/>
                </a:solidFill>
                <a:latin typeface="Segoe UI Semibold"/>
              </a:rPr>
              <a:t> – </a:t>
            </a:r>
            <a:r>
              <a:rPr lang="en-US" altLang="en-US" sz="1800" dirty="0">
                <a:solidFill>
                  <a:srgbClr val="FFFFFF"/>
                </a:solidFill>
                <a:latin typeface="Segoe UI"/>
              </a:rPr>
              <a:t>S</a:t>
            </a:r>
            <a:r>
              <a:rPr kumimoji="0" lang="en-US" altLang="en-US" sz="1800" b="0" i="0" u="none" strike="noStrike" kern="1200" cap="none" spc="0" normalizeH="0" baseline="0" noProof="0" dirty="0">
                <a:ln>
                  <a:noFill/>
                </a:ln>
                <a:solidFill>
                  <a:srgbClr val="FFFFFF"/>
                </a:solidFill>
                <a:effectLst/>
                <a:uLnTx/>
                <a:uFillTx/>
                <a:latin typeface="Segoe UI"/>
                <a:ea typeface="+mn-ea"/>
                <a:cs typeface="+mn-cs"/>
              </a:rPr>
              <a:t>elect a subscription and provision the platform. A free introductory trial is available</a:t>
            </a:r>
            <a:endParaRPr lang="en-US" altLang="en-US" sz="1800" b="0" i="0" u="none" strike="noStrike" kern="1200" cap="none" spc="0" normalizeH="0" baseline="0" noProof="0" dirty="0">
              <a:ln>
                <a:noFill/>
              </a:ln>
              <a:solidFill>
                <a:srgbClr val="FFFFFF"/>
              </a:solidFill>
              <a:effectLst/>
              <a:uLnTx/>
              <a:uFillTx/>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Manage access </a:t>
            </a:r>
            <a:r>
              <a:rPr lang="en-US" altLang="en-US" sz="1800" dirty="0">
                <a:solidFill>
                  <a:srgbClr val="FFFFFF"/>
                </a:solidFill>
                <a:latin typeface="Segoe UI"/>
              </a:rPr>
              <a:t>– Select the people you want to have the ability to provision or access the platform</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Easily connect </a:t>
            </a:r>
            <a:r>
              <a:rPr lang="en-US" altLang="en-US" sz="1800" dirty="0">
                <a:solidFill>
                  <a:srgbClr val="FFFFFF"/>
                </a:solidFill>
                <a:latin typeface="Segoe UI"/>
              </a:rPr>
              <a:t>– Select the IoT Hub instance you want to manage</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Provision devices with Device Update agent </a:t>
            </a:r>
            <a:r>
              <a:rPr lang="en-US" altLang="en-US" sz="1800" dirty="0">
                <a:solidFill>
                  <a:srgbClr val="FFFFFF"/>
                </a:solidFill>
                <a:latin typeface="Segoe UI"/>
              </a:rPr>
              <a:t>– Quickly integrate Device Update for IoT Hub capabilities into your client software</a:t>
            </a:r>
            <a:endParaRPr lang="en-US" altLang="en-US" sz="1800" dirty="0">
              <a:solidFill>
                <a:srgbClr val="FFFFFF"/>
              </a:solidFill>
              <a:latin typeface="Segoe UI"/>
              <a:cs typeface="Segoe UI"/>
            </a:endParaRPr>
          </a:p>
          <a:p>
            <a:pPr marL="457200" indent="-457200" fontAlgn="base">
              <a:spcBef>
                <a:spcPct val="0"/>
              </a:spcBef>
              <a:spcAft>
                <a:spcPct val="0"/>
              </a:spcAft>
              <a:buFont typeface="+mj-lt"/>
              <a:buAutoNum type="arabicPeriod"/>
              <a:defRPr/>
            </a:pPr>
            <a:r>
              <a:rPr lang="en-US" altLang="en-US" sz="1800" b="1" dirty="0">
                <a:solidFill>
                  <a:schemeClr val="accent5"/>
                </a:solidFill>
                <a:latin typeface="Segoe UI Semibold"/>
                <a:cs typeface="Segoe UI Semibold"/>
              </a:rPr>
              <a:t>Group devices </a:t>
            </a:r>
            <a:r>
              <a:rPr lang="en-US" altLang="en-US" sz="1800" dirty="0">
                <a:solidFill>
                  <a:srgbClr val="FFFFFF"/>
                </a:solidFill>
                <a:latin typeface="Segoe UI"/>
              </a:rPr>
              <a:t>– Group devices by class and schedule when updates occur. </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Segoe UI Semibold"/>
                <a:cs typeface="Segoe UI Semibold"/>
              </a:rPr>
              <a:t>Import updates </a:t>
            </a:r>
            <a:r>
              <a:rPr lang="en-US" altLang="en-US" sz="1800" b="1" dirty="0">
                <a:solidFill>
                  <a:schemeClr val="bg2"/>
                </a:solidFill>
                <a:latin typeface="+mn-lt"/>
                <a:cs typeface="Calibri"/>
              </a:rPr>
              <a:t>– </a:t>
            </a:r>
            <a:r>
              <a:rPr lang="en-US" altLang="en-US" sz="1800" dirty="0">
                <a:solidFill>
                  <a:schemeClr val="bg2"/>
                </a:solidFill>
                <a:latin typeface="+mn-lt"/>
                <a:cs typeface="Calibri"/>
              </a:rPr>
              <a:t>Import the security or new feature updates you require.</a:t>
            </a: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Deploy and monitor updates </a:t>
            </a:r>
            <a:r>
              <a:rPr lang="en-US" altLang="en-US" sz="1800" dirty="0">
                <a:solidFill>
                  <a:srgbClr val="FFFFFF"/>
                </a:solidFill>
                <a:latin typeface="Segoe UI"/>
              </a:rPr>
              <a:t>– Push security or feature updates to devices and receive real-time status notifications</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View reporting </a:t>
            </a:r>
            <a:r>
              <a:rPr lang="en-US" altLang="en-US" sz="1800" dirty="0">
                <a:solidFill>
                  <a:srgbClr val="FFFFFF"/>
                </a:solidFill>
                <a:latin typeface="Segoe UI"/>
              </a:rPr>
              <a:t>– Robust reporting capabilities make it easy to keep track of updates and provide up-to-date documentation</a:t>
            </a:r>
            <a:endParaRPr lang="en-US" altLang="en-US" sz="1800" dirty="0">
              <a:solidFill>
                <a:srgbClr val="FFFFFF"/>
              </a:solidFill>
              <a:latin typeface="Segoe UI"/>
              <a:cs typeface="Segoe UI"/>
            </a:endParaRPr>
          </a:p>
          <a:p>
            <a:pPr marL="0" marR="0">
              <a:lnSpc>
                <a:spcPct val="110000"/>
              </a:lnSpc>
              <a:spcBef>
                <a:spcPts val="0"/>
              </a:spcBef>
              <a:spcAft>
                <a:spcPts val="600"/>
              </a:spcAft>
            </a:pPr>
            <a:endParaRPr lang="en-US" sz="18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nSpc>
                <a:spcPct val="110000"/>
              </a:lnSpc>
              <a:spcAft>
                <a:spcPts val="600"/>
              </a:spcAft>
            </a:pPr>
            <a:r>
              <a:rPr lang="en-US" sz="1800" dirty="0">
                <a:solidFill>
                  <a:srgbClr val="000000"/>
                </a:solidFill>
                <a:effectLst/>
                <a:latin typeface="Segoe UI"/>
                <a:ea typeface="Segoe UI" panose="020B0502040204020203" pitchFamily="34" charset="0"/>
                <a:cs typeface="Segoe UI"/>
              </a:rPr>
              <a:t>New users can get started by going to </a:t>
            </a:r>
            <a:r>
              <a:rPr lang="en-US" sz="1800" u="sng" dirty="0">
                <a:solidFill>
                  <a:srgbClr val="0078D4"/>
                </a:solidFill>
                <a:effectLst/>
                <a:latin typeface="Segoe UI"/>
                <a:ea typeface="Segoe UI" panose="020B0502040204020203" pitchFamily="34" charset="0"/>
                <a:cs typeface="Segoe UI"/>
                <a:hlinkClick r:id="rId3"/>
              </a:rPr>
              <a:t>Azure.com</a:t>
            </a:r>
            <a:r>
              <a:rPr lang="en-US" sz="1800" dirty="0">
                <a:solidFill>
                  <a:srgbClr val="000000"/>
                </a:solidFill>
                <a:effectLst/>
                <a:latin typeface="Segoe UI"/>
                <a:ea typeface="Segoe UI" panose="020B0502040204020203" pitchFamily="34" charset="0"/>
                <a:cs typeface="Segoe UI"/>
              </a:rPr>
              <a:t>, which has detailed information about the service. New users who want to try out Device Update for Azure IoT Hub can use a free tier without being charged up to a defined threshold. Solution operators are then able to select a resource group and region and then specify the name of the Device Update for Azure IoT Hub resource instance and the Azure AD directory to be associated with this instance. The user can subsequently see the status of the update being provisioned and then manage the update once provisioning is complete. IoT solution operators and team leaders can select who is given Device Update for Azure IoT Hub provisioning access within their organizations, as well as specifying the users who can manage update instances, try out the functionality, and who can publish or deploy updates.</a:t>
            </a:r>
            <a:r>
              <a:rPr lang="en-US" sz="1800" dirty="0">
                <a:solidFill>
                  <a:srgbClr val="000000"/>
                </a:solidFill>
                <a:latin typeface="Segoe UI"/>
                <a:ea typeface="Segoe UI" panose="020B0502040204020203" pitchFamily="34" charset="0"/>
                <a:cs typeface="Segoe UI"/>
              </a:rPr>
              <a:t> </a:t>
            </a:r>
            <a:endParaRPr lang="en-US" sz="1800" dirty="0">
              <a:effectLst/>
              <a:latin typeface="Segoe UI" panose="020B0502040204020203" pitchFamily="34" charset="0"/>
              <a:ea typeface="MS Mincho" panose="02020609040205080304" pitchFamily="49" charset="-128"/>
              <a:cs typeface="Times New Roman" panose="02020603050405020304" pitchFamily="18" charset="0"/>
            </a:endParaRPr>
          </a:p>
          <a:p>
            <a:endParaRPr lang="en-US" sz="1000" b="0" i="0" dirty="0">
              <a:solidFill>
                <a:srgbClr val="292C33"/>
              </a:solidFill>
              <a:effectLst/>
              <a:latin typeface="Segoe UI" panose="020B0502040204020203" pitchFamily="34" charset="0"/>
              <a:cs typeface="Segoe UI" panose="020B0502040204020203" pitchFamily="34" charset="0"/>
            </a:endParaRPr>
          </a:p>
          <a:p>
            <a:pPr marL="0" marR="0">
              <a:lnSpc>
                <a:spcPct val="110000"/>
              </a:lnSpc>
              <a:spcBef>
                <a:spcPts val="0"/>
              </a:spcBef>
              <a:spcAft>
                <a:spcPts val="600"/>
              </a:spcAft>
            </a:pPr>
            <a:r>
              <a:rPr lang="en-US" sz="1800" b="1" dirty="0">
                <a:solidFill>
                  <a:srgbClr val="000000"/>
                </a:solidFill>
                <a:effectLst/>
                <a:latin typeface="Segoe UI"/>
                <a:ea typeface="Segoe UI" panose="020B0502040204020203" pitchFamily="34" charset="0"/>
                <a:cs typeface="Segoe UI"/>
              </a:rPr>
              <a:t>Included with Device Update for Azure IoT Hub are features</a:t>
            </a:r>
            <a:r>
              <a:rPr lang="en-US" sz="1800" b="1" dirty="0">
                <a:effectLst/>
                <a:latin typeface="Segoe UI"/>
                <a:ea typeface="MS Mincho"/>
                <a:cs typeface="Segoe UI"/>
              </a:rPr>
              <a:t> </a:t>
            </a:r>
            <a:r>
              <a:rPr lang="en-US" sz="1800" b="1" dirty="0">
                <a:solidFill>
                  <a:srgbClr val="000000"/>
                </a:solidFill>
                <a:effectLst/>
                <a:latin typeface="Segoe UI"/>
                <a:ea typeface="Segoe UI" panose="020B0502040204020203" pitchFamily="34" charset="0"/>
                <a:cs typeface="Segoe UI"/>
              </a:rPr>
              <a:t>that allow maximum flexibility for updating devices:</a:t>
            </a:r>
            <a:endParaRPr lang="en-US" sz="1800" b="1"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Use information in Azure IoT Hub to enable a “cloud scan” or cloud orchestrator, where applicability and workflow is moved to the cloud rather than requiring on-device scan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333333"/>
                </a:solidFill>
                <a:effectLst/>
                <a:latin typeface="Segoe UI"/>
                <a:ea typeface="Segoe UI" panose="020B0502040204020203" pitchFamily="34" charset="0"/>
                <a:cs typeface="Segoe UI"/>
              </a:rPr>
              <a:t>Automatically match updates imported into the system with compatible devices, making it easy to deploy the right updates to the right device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Easily subscribe to Device Update for Azure IoT Hub services through the Azure.com portal and provision update tenant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60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Built-in capability to update cloud disconnected devices using an IoT Edge module called Microsoft Connected Cache. This allows disconnected devices to seamlessly download cloud-hosted update payload.</a:t>
            </a:r>
            <a:endParaRPr lang="en-US" sz="1800" dirty="0">
              <a:effectLst/>
              <a:latin typeface="Segoe UI"/>
              <a:ea typeface="MS Mincho" panose="02020609040205080304" pitchFamily="49" charset="-128"/>
              <a:cs typeface="Segoe UI"/>
            </a:endParaRPr>
          </a:p>
          <a:p>
            <a:endParaRPr lang="en-US" sz="1000" b="0" i="0" dirty="0">
              <a:solidFill>
                <a:srgbClr val="292C33"/>
              </a:solidFill>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E6BCA0-944D-48EC-AD7E-A46F6D3C98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849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443"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44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3824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24</a:t>
            </a:fld>
            <a:endParaRPr lang="en-US"/>
          </a:p>
        </p:txBody>
      </p:sp>
    </p:spTree>
    <p:extLst>
      <p:ext uri="{BB962C8B-B14F-4D97-AF65-F5344CB8AC3E}">
        <p14:creationId xmlns:p14="http://schemas.microsoft.com/office/powerpoint/2010/main" val="17195449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72975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C4C51"/>
                </a:solidFill>
                <a:effectLst/>
                <a:latin typeface="Segoe UI" panose="020B0502040204020203" pitchFamily="34" charset="0"/>
              </a:rPr>
              <a:t>Enable highly secure and reliable communication between your Internet of Things (IoT) application and the devices it manages. Azure IoT Hub provides a cloud-hosted solution back end to connect virtually any device. Extend your solution from the cloud to the edge with per-device authentication, built-in device management, and scaled provisioning.</a:t>
            </a:r>
            <a:endParaRPr lang="en-US" dirty="0"/>
          </a:p>
        </p:txBody>
      </p:sp>
      <p:sp>
        <p:nvSpPr>
          <p:cNvPr id="4" name="Slide Number Placeholder 3"/>
          <p:cNvSpPr>
            <a:spLocks noGrp="1"/>
          </p:cNvSpPr>
          <p:nvPr>
            <p:ph type="sldNum" sz="quarter" idx="10"/>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600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9459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974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23287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dditionally, MS Learn offers </a:t>
            </a: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8 Learning Paths </a:t>
            </a: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esigned to help with certification exam prep as well as deeper concepts targeted at different roles including IoT developer, data engineer, solution architect, and administrat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037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3</a:t>
            </a:fld>
            <a:endParaRPr lang="en-US"/>
          </a:p>
        </p:txBody>
      </p:sp>
    </p:spTree>
    <p:extLst>
      <p:ext uri="{BB962C8B-B14F-4D97-AF65-F5344CB8AC3E}">
        <p14:creationId xmlns:p14="http://schemas.microsoft.com/office/powerpoint/2010/main" val="17195449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216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9/2021 4: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1231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Central </a:t>
            </a:r>
            <a:r>
              <a:rPr lang="en-US" sz="1200" b="0" i="0" kern="1200" dirty="0">
                <a:solidFill>
                  <a:srgbClr val="181210"/>
                </a:solidFill>
                <a:effectLst/>
                <a:latin typeface="+mn-lt"/>
                <a:ea typeface="+mn-ea"/>
                <a:cs typeface="+mn-cs"/>
              </a:rPr>
              <a:t>is the easiest and most cost-effective way to connect and manage devices at scale. It</a:t>
            </a:r>
            <a:r>
              <a:rPr lang="en-US" sz="1200" b="0" i="0" kern="1200" noProof="0" dirty="0">
                <a:solidFill>
                  <a:srgbClr val="181210"/>
                </a:solidFill>
                <a:effectLst/>
                <a:latin typeface="+mn-lt"/>
                <a:ea typeface="+mn-ea"/>
                <a:cs typeface="+mn-cs"/>
              </a:rPr>
              <a:t> connects your IoT devices to the cloud faster than any other platform. You can find new devices matched to your solution in the Azure Certified for IoT device catalog. Also, we understand how hard it is to keep devices connected and healthy. Azure IoT Central lets you reconfigure and update devices with centralized device management. In addition, the connectors and extensibility APIs bridge the gap between your business applications and Io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50" dirty="0">
              <a:gradFill>
                <a:gsLst>
                  <a:gs pos="0">
                    <a:srgbClr val="0078D3"/>
                  </a:gs>
                  <a:gs pos="100000">
                    <a:srgbClr val="0078D3"/>
                  </a:gs>
                </a:gsLst>
                <a:lin ang="5400000" scaled="1"/>
              </a:gradFill>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Hub is a Platform as a Service. </a:t>
            </a:r>
            <a:r>
              <a:rPr lang="en-US" sz="1200" b="0" dirty="0">
                <a:gradFill>
                  <a:gsLst>
                    <a:gs pos="0">
                      <a:srgbClr val="0078D3"/>
                    </a:gs>
                    <a:gs pos="100000">
                      <a:srgbClr val="0078D3"/>
                    </a:gs>
                  </a:gsLst>
                  <a:lin ang="5400000" scaled="0"/>
                </a:gradFill>
                <a:latin typeface="+mn-lt"/>
                <a:cs typeface="Segoe UI" pitchFamily="34" charset="0"/>
              </a:rPr>
              <a:t>With it you can do 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stablish bi-directional communication with billions of IoT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nhance security with per device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Provision devices at scale with IoT Hub Device Provisioning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Manage devices at scale with device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Use </a:t>
            </a:r>
            <a:r>
              <a:rPr lang="en-US" dirty="0">
                <a:gradFill>
                  <a:gsLst>
                    <a:gs pos="0">
                      <a:srgbClr val="000000"/>
                    </a:gs>
                    <a:gs pos="100000">
                      <a:srgbClr val="000000"/>
                    </a:gs>
                  </a:gsLst>
                  <a:lin ang="5400000" scaled="0"/>
                </a:gradFill>
                <a:latin typeface="+mn-lt"/>
              </a:rPr>
              <a:t>multi-language and open source SD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81210"/>
                </a:solidFill>
                <a:effectLst/>
                <a:latin typeface="+mn-lt"/>
              </a:rPr>
              <a:t>A Digital Twin (DT) </a:t>
            </a:r>
            <a:r>
              <a:rPr lang="en-US" b="0" i="0" dirty="0">
                <a:solidFill>
                  <a:srgbClr val="181210"/>
                </a:solidFill>
                <a:effectLst/>
                <a:latin typeface="+mn-lt"/>
              </a:rPr>
              <a:t>is a dynamic digital representation of a physical piece of equipment, or thing, and its associated environment.  Every DT has a dynamic data model containing only a few, or even thousands, of data attributes of the physical thing or system it represents.  Attributes are associated with sensors that are measuring temperature, pressure, and other variables and associated physics in order to represent real-world operating conditions as well as static values like the installation date or OEM. </a:t>
            </a:r>
            <a:r>
              <a:rPr lang="en-US" sz="1200" kern="1200" dirty="0">
                <a:solidFill>
                  <a:schemeClr val="tx1"/>
                </a:solidFill>
                <a:effectLst/>
                <a:latin typeface="+mn-lt"/>
                <a:ea typeface="+mn-ea"/>
                <a:cs typeface="+mn-cs"/>
              </a:rPr>
              <a:t>Azure Digital Twins is the development platform for IoT solutions that model the real world. </a:t>
            </a:r>
            <a:endParaRPr lang="en-US" b="0" i="0" dirty="0">
              <a:solidFill>
                <a:srgbClr val="18121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000000"/>
                    </a:gs>
                    <a:gs pos="100000">
                      <a:srgbClr val="000000"/>
                    </a:gs>
                  </a:gsLst>
                  <a:lin ang="5400000" scaled="0"/>
                </a:gradFill>
                <a:latin typeface="+mn-lt"/>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141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dirty="0">
                <a:gradFill>
                  <a:gsLst>
                    <a:gs pos="0">
                      <a:srgbClr val="000000"/>
                    </a:gs>
                    <a:gs pos="100000">
                      <a:srgbClr val="000000"/>
                    </a:gs>
                  </a:gsLst>
                  <a:lin ang="5400000" scaled="0"/>
                </a:gradFill>
                <a:latin typeface="+mn-lt"/>
              </a:rPr>
              <a:t>Per device authentication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00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13BA99-3C33-405D-8BA7-55C22F16148E}"/>
              </a:ext>
            </a:extLst>
          </p:cNvPr>
          <p:cNvSpPr>
            <a:spLocks noGrp="1"/>
          </p:cNvSpPr>
          <p:nvPr>
            <p:ph type="body" idx="1"/>
          </p:nvPr>
        </p:nvSpPr>
        <p:spPr/>
        <p:txBody>
          <a:bodyPr/>
          <a:lstStyle/>
          <a:p>
            <a:pPr marL="0" marR="0">
              <a:spcBef>
                <a:spcPts val="0"/>
              </a:spcBef>
              <a:spcAft>
                <a:spcPts val="0"/>
              </a:spcAft>
            </a:pPr>
            <a:r>
              <a:rPr lang="en-US" sz="1800" dirty="0">
                <a:solidFill>
                  <a:srgbClr val="979797"/>
                </a:solidFill>
                <a:effectLst/>
                <a:latin typeface="Segoe UI" panose="020B0502040204020203" pitchFamily="34" charset="0"/>
              </a:rPr>
              <a:t>Azure IoT Hub and Azure Digital Twins provide the building blocks for companies to construct customized IoT solutions</a:t>
            </a:r>
          </a:p>
          <a:p>
            <a:pPr marL="0" marR="0">
              <a:spcBef>
                <a:spcPts val="0"/>
              </a:spcBef>
              <a:spcAft>
                <a:spcPts val="0"/>
              </a:spcAft>
            </a:pPr>
            <a:r>
              <a:rPr lang="en-US" sz="1800" i="1" dirty="0">
                <a:solidFill>
                  <a:srgbClr val="979797"/>
                </a:solidFill>
                <a:effectLst/>
                <a:latin typeface="Segoe UI Semilight" panose="020B0402040204020203" pitchFamily="34" charset="0"/>
              </a:rPr>
              <a:t>The right fit for businesses with </a:t>
            </a:r>
            <a:r>
              <a:rPr lang="en-US" sz="1800" b="1" i="1" dirty="0">
                <a:solidFill>
                  <a:srgbClr val="979797"/>
                </a:solidFill>
                <a:effectLst/>
                <a:latin typeface="Segoe UI" panose="020B0502040204020203" pitchFamily="34" charset="0"/>
              </a:rPr>
              <a:t>cloud solution and device expertise</a:t>
            </a:r>
            <a:r>
              <a:rPr lang="en-US" sz="1800" i="1" dirty="0">
                <a:solidFill>
                  <a:srgbClr val="979797"/>
                </a:solidFill>
                <a:effectLst/>
                <a:latin typeface="Segoe UI" panose="020B0502040204020203" pitchFamily="34" charset="0"/>
              </a:rPr>
              <a:t> (in-house or through partnerships) </a:t>
            </a:r>
            <a:r>
              <a:rPr lang="en-US" sz="1800" i="1" dirty="0">
                <a:solidFill>
                  <a:srgbClr val="979797"/>
                </a:solidFill>
                <a:effectLst/>
                <a:latin typeface="Segoe UI Semilight" panose="020B0402040204020203" pitchFamily="34" charset="0"/>
              </a:rPr>
              <a:t>who want to </a:t>
            </a:r>
            <a:r>
              <a:rPr lang="en-US" sz="1800" b="1" i="1" dirty="0">
                <a:solidFill>
                  <a:srgbClr val="979797"/>
                </a:solidFill>
                <a:effectLst/>
                <a:latin typeface="Segoe UI" panose="020B0502040204020203" pitchFamily="34" charset="0"/>
              </a:rPr>
              <a:t>fine-tune their services</a:t>
            </a:r>
            <a:r>
              <a:rPr lang="en-US" sz="1800" i="1" dirty="0">
                <a:solidFill>
                  <a:srgbClr val="979797"/>
                </a:solidFill>
                <a:effectLst/>
                <a:latin typeface="Segoe UI Semilight" panose="020B0402040204020203" pitchFamily="34" charset="0"/>
              </a:rPr>
              <a:t> with a </a:t>
            </a:r>
            <a:r>
              <a:rPr lang="en-US" sz="1800" b="1" i="1" dirty="0">
                <a:solidFill>
                  <a:srgbClr val="979797"/>
                </a:solidFill>
                <a:effectLst/>
                <a:latin typeface="Segoe UI" panose="020B0502040204020203" pitchFamily="34" charset="0"/>
              </a:rPr>
              <a:t>high degree of control and customization</a:t>
            </a:r>
          </a:p>
          <a:p>
            <a:pPr marL="0" marR="0">
              <a:spcBef>
                <a:spcPts val="0"/>
              </a:spcBef>
              <a:spcAft>
                <a:spcPts val="0"/>
              </a:spcAft>
            </a:pPr>
            <a:endParaRPr lang="en-US" sz="1800" b="1" i="1" dirty="0">
              <a:solidFill>
                <a:srgbClr val="979797"/>
              </a:solidFill>
              <a:effectLst/>
              <a:latin typeface="Segoe UI" panose="020B0502040204020203" pitchFamily="34" charset="0"/>
            </a:endParaRPr>
          </a:p>
          <a:p>
            <a:pPr marL="0" marR="0">
              <a:spcBef>
                <a:spcPts val="0"/>
              </a:spcBef>
              <a:spcAft>
                <a:spcPts val="0"/>
              </a:spcAft>
            </a:pPr>
            <a:r>
              <a:rPr lang="en-US" sz="1800" b="1" i="1" dirty="0">
                <a:solidFill>
                  <a:srgbClr val="979797"/>
                </a:solidFill>
                <a:effectLst/>
                <a:latin typeface="Segoe UI" panose="020B0502040204020203" pitchFamily="34" charset="0"/>
              </a:rPr>
              <a:t>You can connect devices to IoT Hub </a:t>
            </a:r>
          </a:p>
          <a:p>
            <a:pPr marL="0" marR="0">
              <a:spcBef>
                <a:spcPts val="0"/>
              </a:spcBef>
              <a:spcAft>
                <a:spcPts val="0"/>
              </a:spcAft>
            </a:pPr>
            <a:endParaRPr lang="en-US" sz="1800" b="1" i="1" dirty="0">
              <a:solidFill>
                <a:srgbClr val="979797"/>
              </a:solidFill>
              <a:effectLst/>
              <a:latin typeface="Segoe UI" panose="020B0502040204020203" pitchFamily="34" charset="0"/>
            </a:endParaRPr>
          </a:p>
          <a:p>
            <a:pPr marL="0" marR="0">
              <a:spcBef>
                <a:spcPts val="0"/>
              </a:spcBef>
              <a:spcAft>
                <a:spcPts val="0"/>
              </a:spcAft>
            </a:pPr>
            <a:r>
              <a:rPr lang="en-US" sz="1800" dirty="0">
                <a:solidFill>
                  <a:srgbClr val="979797"/>
                </a:solidFill>
                <a:effectLst/>
                <a:latin typeface="Segoe UI" panose="020B0502040204020203" pitchFamily="34" charset="0"/>
              </a:rPr>
              <a:t>Azure IoT Central enables companies to get started quickly building IoT applications with a fully-managed IoT solution offering.</a:t>
            </a:r>
          </a:p>
          <a:p>
            <a:pPr marL="0" marR="0">
              <a:spcBef>
                <a:spcPts val="0"/>
              </a:spcBef>
              <a:spcAft>
                <a:spcPts val="0"/>
              </a:spcAft>
            </a:pPr>
            <a:r>
              <a:rPr lang="en-US" sz="1800" i="1" dirty="0">
                <a:solidFill>
                  <a:srgbClr val="979797"/>
                </a:solidFill>
                <a:effectLst/>
                <a:latin typeface="Segoe UI" panose="020B0502040204020203" pitchFamily="34" charset="0"/>
              </a:rPr>
              <a:t>The right fit for businesses that </a:t>
            </a:r>
            <a:r>
              <a:rPr lang="en-US" sz="1800" b="1" i="1" dirty="0">
                <a:solidFill>
                  <a:srgbClr val="979797"/>
                </a:solidFill>
                <a:effectLst/>
                <a:latin typeface="Segoe UI" panose="020B0502040204020203" pitchFamily="34" charset="0"/>
              </a:rPr>
              <a:t>do not wish to dedicate extensive resources to system architecture </a:t>
            </a:r>
            <a:r>
              <a:rPr lang="en-US" sz="1800" i="1" dirty="0">
                <a:solidFill>
                  <a:srgbClr val="979797"/>
                </a:solidFill>
                <a:effectLst/>
                <a:latin typeface="Segoe UI" panose="020B0502040204020203" pitchFamily="34" charset="0"/>
              </a:rPr>
              <a:t>and want to select a solution that provides </a:t>
            </a:r>
            <a:r>
              <a:rPr lang="en-US" sz="1800" b="1" i="1" dirty="0">
                <a:solidFill>
                  <a:srgbClr val="979797"/>
                </a:solidFill>
                <a:effectLst/>
                <a:latin typeface="Segoe UI" panose="020B0502040204020203" pitchFamily="34" charset="0"/>
              </a:rPr>
              <a:t>predictable pricing </a:t>
            </a:r>
            <a:r>
              <a:rPr lang="en-US" sz="1800" i="1" dirty="0">
                <a:solidFill>
                  <a:srgbClr val="979797"/>
                </a:solidFill>
                <a:effectLst/>
                <a:latin typeface="Segoe UI" panose="020B0502040204020203" pitchFamily="34" charset="0"/>
              </a:rPr>
              <a:t>and the ability to customize branding, device types, data management and user roles. </a:t>
            </a:r>
            <a:endParaRPr lang="en-US" sz="1800" dirty="0">
              <a:solidFill>
                <a:srgbClr val="979797"/>
              </a:solidFill>
              <a:effectLst/>
              <a:latin typeface="Segoe UI" panose="020B0502040204020203" pitchFamily="34" charset="0"/>
            </a:endParaRPr>
          </a:p>
          <a:p>
            <a:endParaRPr lang="en-US" sz="1800" dirty="0">
              <a:solidFill>
                <a:srgbClr val="000000"/>
              </a:solidFill>
              <a:effectLst/>
              <a:latin typeface="Calibri" panose="020F0502020204030204" pitchFamily="34" charset="0"/>
            </a:endParaRPr>
          </a:p>
          <a:p>
            <a:r>
              <a:rPr lang="en-US" sz="1800" dirty="0">
                <a:solidFill>
                  <a:srgbClr val="000000"/>
                </a:solidFill>
                <a:effectLst/>
                <a:latin typeface="Calibri" panose="020F0502020204030204" pitchFamily="34" charset="0"/>
              </a:rPr>
              <a:t>Questions to ask yourself on which choice to take:</a:t>
            </a:r>
          </a:p>
          <a:p>
            <a:pPr marL="0" marR="0">
              <a:spcBef>
                <a:spcPts val="0"/>
              </a:spcBef>
              <a:spcAft>
                <a:spcPts val="0"/>
              </a:spcAft>
            </a:pPr>
            <a:r>
              <a:rPr lang="en-US" sz="1800" dirty="0">
                <a:solidFill>
                  <a:srgbClr val="979797"/>
                </a:solidFill>
                <a:effectLst/>
                <a:latin typeface="Segoe UI Semibold" panose="020B0702040204020203" pitchFamily="34" charset="0"/>
              </a:rPr>
              <a:t>1) Expertise: </a:t>
            </a:r>
            <a:r>
              <a:rPr lang="en-US" sz="1800" dirty="0">
                <a:solidFill>
                  <a:srgbClr val="979797"/>
                </a:solidFill>
                <a:effectLst/>
                <a:latin typeface="Segoe UI Semilight" panose="020B0402040204020203" pitchFamily="34" charset="0"/>
              </a:rPr>
              <a:t>How proficient are you with building cloud solutions</a:t>
            </a:r>
            <a:endParaRPr lang="en-US" sz="1800" dirty="0">
              <a:solidFill>
                <a:srgbClr val="979797"/>
              </a:solidFill>
              <a:effectLst/>
              <a:latin typeface="Calibri" panose="020F0502020204030204" pitchFamily="34" charset="0"/>
            </a:endParaRPr>
          </a:p>
          <a:p>
            <a:pPr marL="0" marR="0">
              <a:spcBef>
                <a:spcPts val="0"/>
              </a:spcBef>
              <a:spcAft>
                <a:spcPts val="0"/>
              </a:spcAft>
            </a:pPr>
            <a:r>
              <a:rPr lang="en-US" sz="1800" dirty="0">
                <a:solidFill>
                  <a:srgbClr val="979797"/>
                </a:solidFill>
                <a:effectLst/>
                <a:latin typeface="Segoe UI Semibold" panose="020B0702040204020203" pitchFamily="34" charset="0"/>
              </a:rPr>
              <a:t>2) Control: </a:t>
            </a:r>
            <a:r>
              <a:rPr lang="en-US" sz="1800" dirty="0">
                <a:solidFill>
                  <a:srgbClr val="979797"/>
                </a:solidFill>
                <a:effectLst/>
                <a:latin typeface="Segoe UI Semilight" panose="020B0402040204020203" pitchFamily="34" charset="0"/>
              </a:rPr>
              <a:t>What elements of my solution do I want to customize</a:t>
            </a:r>
            <a:endParaRPr lang="en-US" sz="1800" dirty="0">
              <a:solidFill>
                <a:srgbClr val="979797"/>
              </a:solidFill>
              <a:effectLst/>
              <a:latin typeface="Calibri" panose="020F0502020204030204" pitchFamily="34" charset="0"/>
            </a:endParaRPr>
          </a:p>
          <a:p>
            <a:pPr marL="0" marR="0">
              <a:spcBef>
                <a:spcPts val="0"/>
              </a:spcBef>
              <a:spcAft>
                <a:spcPts val="0"/>
              </a:spcAft>
            </a:pPr>
            <a:r>
              <a:rPr lang="en-US" sz="1800" dirty="0">
                <a:solidFill>
                  <a:srgbClr val="979797"/>
                </a:solidFill>
                <a:effectLst/>
                <a:latin typeface="Segoe UI Semibold" panose="020B0702040204020203" pitchFamily="34" charset="0"/>
              </a:rPr>
              <a:t>3) Pricing: </a:t>
            </a:r>
            <a:r>
              <a:rPr lang="en-US" sz="1800" dirty="0">
                <a:solidFill>
                  <a:srgbClr val="979797"/>
                </a:solidFill>
                <a:effectLst/>
                <a:latin typeface="Segoe UI Semilight" panose="020B0402040204020203" pitchFamily="34" charset="0"/>
              </a:rPr>
              <a:t>What structure best fits your needs?</a:t>
            </a:r>
            <a:endParaRPr lang="en-US" sz="1800" dirty="0">
              <a:solidFill>
                <a:srgbClr val="979797"/>
              </a:solidFill>
              <a:effectLst/>
              <a:latin typeface="Calibri" panose="020F0502020204030204" pitchFamily="34" charset="0"/>
            </a:endParaRPr>
          </a:p>
          <a:p>
            <a:pPr marL="0" marR="0">
              <a:spcBef>
                <a:spcPts val="0"/>
              </a:spcBef>
              <a:spcAft>
                <a:spcPts val="0"/>
              </a:spcAft>
            </a:pPr>
            <a:endParaRPr lang="en-US" sz="1800" dirty="0">
              <a:solidFill>
                <a:srgbClr val="979797"/>
              </a:solidFill>
              <a:effectLst/>
              <a:latin typeface="Calibri" panose="020F0502020204030204" pitchFamily="34" charset="0"/>
            </a:endParaRPr>
          </a:p>
          <a:p>
            <a:endParaRPr lang="en-US" dirty="0"/>
          </a:p>
          <a:p>
            <a:endParaRPr lang="en-US" dirty="0"/>
          </a:p>
        </p:txBody>
      </p:sp>
    </p:spTree>
    <p:extLst>
      <p:ext uri="{BB962C8B-B14F-4D97-AF65-F5344CB8AC3E}">
        <p14:creationId xmlns:p14="http://schemas.microsoft.com/office/powerpoint/2010/main" val="3773551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AU"/>
              <a:t>Quick recap from the </a:t>
            </a:r>
            <a:r>
              <a:rPr lang="en-US">
                <a:solidFill>
                  <a:schemeClr val="dk1"/>
                </a:solidFill>
              </a:rPr>
              <a:t>Deciphering Data Introduction session</a:t>
            </a:r>
            <a:endParaRPr lang="en-AU"/>
          </a:p>
          <a:p>
            <a:pPr marL="228600" indent="-228600">
              <a:buFont typeface="+mj-lt"/>
              <a:buAutoNum type="arabicPeriod"/>
            </a:pPr>
            <a:r>
              <a:rPr lang="en-AU"/>
              <a:t>Things :</a:t>
            </a:r>
          </a:p>
          <a:p>
            <a:pPr marL="228600" lvl="6" indent="-228600">
              <a:buFont typeface="Arial" panose="020B0604020202020204" pitchFamily="34" charset="0"/>
              <a:buChar char="•"/>
            </a:pPr>
            <a:r>
              <a:rPr lang="en-AU"/>
              <a:t>Directly connected, via a gateway, or intelligent edge devices</a:t>
            </a:r>
          </a:p>
          <a:p>
            <a:pPr marL="228600" lvl="4" indent="-228600">
              <a:buFont typeface="Arial" panose="020B0604020202020204" pitchFamily="34" charset="0"/>
              <a:buChar char="•"/>
            </a:pPr>
            <a:r>
              <a:rPr lang="en-AU"/>
              <a:t>If you are a device developer you need to be thinking about message types, data types, serialisation, and metadata as these simply data processing in the cloud.</a:t>
            </a:r>
          </a:p>
          <a:p>
            <a:pPr marL="228600" lvl="4" indent="-228600">
              <a:buFont typeface="+mj-lt"/>
              <a:buAutoNum type="arabicPeriod"/>
            </a:pPr>
            <a:r>
              <a:rPr lang="en-AU"/>
              <a:t>Insights</a:t>
            </a:r>
          </a:p>
          <a:p>
            <a:pPr marL="228600" lvl="5" indent="-228600">
              <a:buFont typeface="Arial" panose="020B0604020202020204" pitchFamily="34" charset="0"/>
              <a:buChar char="•"/>
            </a:pPr>
            <a:r>
              <a:rPr lang="en-AU"/>
              <a:t>Stream processing, data transformation, and Storing</a:t>
            </a:r>
          </a:p>
          <a:p>
            <a:pPr marL="228600" lvl="5" indent="-228600">
              <a:buFont typeface="Arial" panose="020B0604020202020204" pitchFamily="34" charset="0"/>
              <a:buChar char="•"/>
            </a:pPr>
            <a:r>
              <a:rPr lang="en-AU"/>
              <a:t>Remember to consider the volume and value of data as this will guide you as to where you are storing data</a:t>
            </a:r>
          </a:p>
          <a:p>
            <a:pPr marL="228600" lvl="5" indent="-228600">
              <a:buFont typeface="Arial" panose="020B0604020202020204" pitchFamily="34" charset="0"/>
              <a:buChar char="•"/>
            </a:pPr>
            <a:r>
              <a:rPr lang="en-AU"/>
              <a:t>Actions</a:t>
            </a:r>
          </a:p>
          <a:p>
            <a:pPr marL="228600" marR="0" lvl="5" indent="-22860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a:t>Integration with business systems</a:t>
            </a:r>
          </a:p>
          <a:p>
            <a:pPr marL="228600" lvl="5" indent="-228600">
              <a:buFont typeface="+mj-lt"/>
              <a:buAutoNum type="arabicPeriod"/>
            </a:pPr>
            <a:r>
              <a:rPr lang="en-AU"/>
              <a:t>Make better business decision based on data</a:t>
            </a:r>
          </a:p>
          <a:p>
            <a:pPr marL="228600" lvl="5" indent="-228600">
              <a:buFont typeface="Arial" panose="020B0604020202020204" pitchFamily="34" charset="0"/>
              <a:buChar char="•"/>
            </a:pPr>
            <a:r>
              <a:rPr lang="en-AU"/>
              <a:t>Opportunities to automate</a:t>
            </a:r>
          </a:p>
          <a:p>
            <a:pPr marL="228600" lvl="5" indent="-228600">
              <a:buFont typeface="Arial" panose="020B0604020202020204" pitchFamily="34" charset="0"/>
              <a:buChar char="•"/>
            </a:pPr>
            <a:r>
              <a:rPr lang="en-AU"/>
              <a:t>Batch analytics and training machine learning</a:t>
            </a:r>
          </a:p>
          <a:p>
            <a:pPr marL="228600" lvl="5" indent="-228600">
              <a:buFont typeface="Arial" panose="020B0604020202020204" pitchFamily="34" charset="0"/>
              <a:buChar char="•"/>
            </a:pPr>
            <a:endParaRPr lang="en-AU"/>
          </a:p>
        </p:txBody>
      </p:sp>
    </p:spTree>
    <p:extLst>
      <p:ext uri="{BB962C8B-B14F-4D97-AF65-F5344CB8AC3E}">
        <p14:creationId xmlns:p14="http://schemas.microsoft.com/office/powerpoint/2010/main" val="2895423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1246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 Id="rId4" Type="http://schemas.openxmlformats.org/officeDocument/2006/relationships/image" Target="../media/image28.emf"/></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5" Type="http://schemas.openxmlformats.org/officeDocument/2006/relationships/image" Target="../media/image56.png"/><Relationship Id="rId4" Type="http://schemas.openxmlformats.org/officeDocument/2006/relationships/image" Target="../media/image55.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8.emf"/><Relationship Id="rId1" Type="http://schemas.openxmlformats.org/officeDocument/2006/relationships/slideMaster" Target="../slideMasters/slideMaster11.xml"/><Relationship Id="rId5" Type="http://schemas.openxmlformats.org/officeDocument/2006/relationships/image" Target="../media/image64.png"/><Relationship Id="rId4" Type="http://schemas.openxmlformats.org/officeDocument/2006/relationships/image" Target="../media/image63.sv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1.xml"/><Relationship Id="rId4" Type="http://schemas.openxmlformats.org/officeDocument/2006/relationships/image" Target="../media/image48.emf"/></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1.xml"/><Relationship Id="rId4" Type="http://schemas.openxmlformats.org/officeDocument/2006/relationships/image" Target="../media/image67.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 Id="rId4" Type="http://schemas.openxmlformats.org/officeDocument/2006/relationships/image" Target="../media/image70.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2.xml"/><Relationship Id="rId4" Type="http://schemas.openxmlformats.org/officeDocument/2006/relationships/image" Target="../media/image14.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4.jpeg"/><Relationship Id="rId1" Type="http://schemas.openxmlformats.org/officeDocument/2006/relationships/slideMaster" Target="../slideMasters/slideMaster12.xml"/><Relationship Id="rId4" Type="http://schemas.openxmlformats.org/officeDocument/2006/relationships/image" Target="../media/image25.jpe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4.jpeg"/><Relationship Id="rId1" Type="http://schemas.openxmlformats.org/officeDocument/2006/relationships/slideMaster" Target="../slideMasters/slideMaster13.xml"/><Relationship Id="rId4" Type="http://schemas.openxmlformats.org/officeDocument/2006/relationships/image" Target="../media/image25.jpe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4.xml"/><Relationship Id="rId4" Type="http://schemas.openxmlformats.org/officeDocument/2006/relationships/image" Target="../media/image14.jpe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4.jpeg"/><Relationship Id="rId1" Type="http://schemas.openxmlformats.org/officeDocument/2006/relationships/slideMaster" Target="../slideMasters/slideMaster14.xml"/><Relationship Id="rId4" Type="http://schemas.openxmlformats.org/officeDocument/2006/relationships/image" Target="../media/image25.jpeg"/></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4.xml"/><Relationship Id="rId4" Type="http://schemas.openxmlformats.org/officeDocument/2006/relationships/image" Target="../media/image56.png"/></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Master" Target="../slideMasters/slideMaster15.xml"/><Relationship Id="rId1" Type="http://schemas.openxmlformats.org/officeDocument/2006/relationships/tags" Target="../tags/tag1.xml"/><Relationship Id="rId5" Type="http://schemas.openxmlformats.org/officeDocument/2006/relationships/image" Target="../media/image79.emf"/><Relationship Id="rId4" Type="http://schemas.openxmlformats.org/officeDocument/2006/relationships/oleObject" Target="../embeddings/oleObject1.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Master" Target="../slideMasters/slideMaster17.xml"/><Relationship Id="rId1" Type="http://schemas.openxmlformats.org/officeDocument/2006/relationships/tags" Target="../tags/tag2.xml"/><Relationship Id="rId5" Type="http://schemas.openxmlformats.org/officeDocument/2006/relationships/image" Target="../media/image79.emf"/><Relationship Id="rId4" Type="http://schemas.openxmlformats.org/officeDocument/2006/relationships/oleObject" Target="../embeddings/oleObject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28.emf"/><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48.emf"/><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Master" Target="../slideMasters/slideMaster20.xml"/><Relationship Id="rId4" Type="http://schemas.openxmlformats.org/officeDocument/2006/relationships/image" Target="../media/image92.jpe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15.png"/><Relationship Id="rId1" Type="http://schemas.openxmlformats.org/officeDocument/2006/relationships/slideMaster" Target="../slideMasters/slideMaster20.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20.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Master" Target="../slideMasters/slideMaster20.xml"/><Relationship Id="rId4" Type="http://schemas.openxmlformats.org/officeDocument/2006/relationships/image" Target="../media/image102.jpeg"/></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20.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05.png"/><Relationship Id="rId1" Type="http://schemas.openxmlformats.org/officeDocument/2006/relationships/slideMaster" Target="../slideMasters/slideMaster20.xml"/><Relationship Id="rId4" Type="http://schemas.openxmlformats.org/officeDocument/2006/relationships/image" Target="../media/image10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5889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3798266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003346"/>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70011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5615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79407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45379220"/>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6429"/>
            <a:ext cx="9624683" cy="677108"/>
          </a:xfrm>
        </p:spPr>
        <p:txBody>
          <a:bodyPr wrap="square" anchor="b" anchorCtr="0">
            <a:spAutoFit/>
          </a:bodyPr>
          <a:lstStyle>
            <a:lvl1pPr>
              <a:defRPr sz="4400">
                <a:gradFill flip="none" rotWithShape="1">
                  <a:gsLst>
                    <a:gs pos="100000">
                      <a:srgbClr val="50E6FF"/>
                    </a:gs>
                    <a:gs pos="0">
                      <a:srgbClr val="0078D4"/>
                    </a:gs>
                  </a:gsLst>
                  <a:lin ang="4800000" scaled="0"/>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2" name="Text Placeholder 4">
            <a:extLst>
              <a:ext uri="{FF2B5EF4-FFF2-40B4-BE49-F238E27FC236}">
                <a16:creationId xmlns:a16="http://schemas.microsoft.com/office/drawing/2014/main" id="{CDDFFF5F-F843-4F0E-BA81-1CC563655509}"/>
              </a:ext>
            </a:extLst>
          </p:cNvPr>
          <p:cNvSpPr>
            <a:spLocks noGrp="1"/>
          </p:cNvSpPr>
          <p:nvPr>
            <p:ph type="body" sz="quarter" idx="15" hasCustomPrompt="1"/>
          </p:nvPr>
        </p:nvSpPr>
        <p:spPr>
          <a:xfrm>
            <a:off x="582042" y="2467908"/>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786757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4389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6850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8726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120084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5143013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85646"/>
            <a:ext cx="4162425" cy="338554"/>
          </a:xfrm>
        </p:spPr>
        <p:txBody>
          <a:bodyPr/>
          <a:lstStyle>
            <a:lvl1pPr marL="0" indent="0">
              <a:spcBef>
                <a:spcPts val="1200"/>
              </a:spcBef>
              <a:spcAft>
                <a:spcPts val="12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17127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2745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2700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418044806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143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314987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5571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144539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0" y="1236663"/>
            <a:ext cx="12368213" cy="4714875"/>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88963" y="2351088"/>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41957667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22225" y="10886"/>
            <a:ext cx="12169775" cy="3383280"/>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36563" y="318587"/>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1" y="3457302"/>
            <a:ext cx="12192000" cy="338328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6563" y="3859345"/>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3941544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0348313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5101917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9264754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589558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893558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1315379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75361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5539926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1479038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90786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06184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10779329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1495010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2893843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BB4BF58-A979-4DEB-B5C0-812DE1E3801E}"/>
              </a:ext>
            </a:extLst>
          </p:cNvPr>
          <p:cNvSpPr>
            <a:spLocks noGrp="1"/>
          </p:cNvSpPr>
          <p:nvPr>
            <p:ph type="pic" sz="quarter" idx="10"/>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557029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1158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68177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8345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334916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61606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8219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41194311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358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73017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 grade tex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64896"/>
            <a:ext cx="11653523" cy="923330"/>
          </a:xfrm>
          <a:noFill/>
        </p:spPr>
        <p:txBody>
          <a:bodyPr tIns="91440" bIns="91440" anchor="t" anchorCtr="0">
            <a:spAutoFit/>
          </a:bodyPr>
          <a:lstStyle>
            <a:lvl1pPr>
              <a:defRPr sz="4800" spc="-98" baseline="0">
                <a:gradFill flip="none" rotWithShape="1">
                  <a:gsLst>
                    <a:gs pos="100000">
                      <a:srgbClr val="50E6FF"/>
                    </a:gs>
                    <a:gs pos="0">
                      <a:srgbClr val="0078D4"/>
                    </a:gs>
                  </a:gsLst>
                  <a:lin ang="3600000" scaled="0"/>
                  <a:tileRect/>
                </a:gradFill>
              </a:defRPr>
            </a:lvl1pPr>
          </a:lstStyle>
          <a:p>
            <a:r>
              <a:rPr lang="en-US"/>
              <a:t>Section title</a:t>
            </a:r>
          </a:p>
        </p:txBody>
      </p:sp>
      <p:sp>
        <p:nvSpPr>
          <p:cNvPr id="4" name="Footer Placeholder 1">
            <a:extLst>
              <a:ext uri="{FF2B5EF4-FFF2-40B4-BE49-F238E27FC236}">
                <a16:creationId xmlns:a16="http://schemas.microsoft.com/office/drawing/2014/main" id="{9F11C490-EA2D-CF4C-B93B-C9C44A071C09}"/>
              </a:ext>
            </a:extLst>
          </p:cNvPr>
          <p:cNvSpPr>
            <a:spLocks noGrp="1"/>
          </p:cNvSpPr>
          <p:nvPr>
            <p:ph type="ftr" sz="quarter" idx="10"/>
          </p:nvPr>
        </p:nvSpPr>
        <p:spPr>
          <a:xfrm>
            <a:off x="3456432" y="6400800"/>
            <a:ext cx="5279136" cy="365125"/>
          </a:xfrm>
        </p:spPr>
        <p:txBody>
          <a:bodyPr/>
          <a:lstStyle>
            <a:lvl1pPr>
              <a:defRPr sz="900">
                <a:solidFill>
                  <a:schemeClr val="tx1"/>
                </a:solidFill>
              </a:defRPr>
            </a:lvl1pPr>
          </a:lstStyle>
          <a:p>
            <a:r>
              <a:rPr lang="en-US"/>
              <a:t>MICROSOFT CONFIDENTIAL – NON-DISCLOSURE AGREEMENT REQUIRED</a:t>
            </a:r>
          </a:p>
        </p:txBody>
      </p:sp>
    </p:spTree>
    <p:extLst>
      <p:ext uri="{BB962C8B-B14F-4D97-AF65-F5344CB8AC3E}">
        <p14:creationId xmlns:p14="http://schemas.microsoft.com/office/powerpoint/2010/main" val="77381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6687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amp;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5685"/>
          </a:xfrm>
        </p:spPr>
        <p:txBody>
          <a:bodyPr/>
          <a:lstStyle>
            <a:lvl1pPr>
              <a:buClr>
                <a:schemeClr val="tx1">
                  <a:lumMod val="50000"/>
                  <a:lumOff val="50000"/>
                </a:schemeClr>
              </a:buClr>
              <a:buSzPct val="100000"/>
              <a:defRPr/>
            </a:lvl1pPr>
            <a:lvl2pPr marL="640080">
              <a:buClr>
                <a:schemeClr val="tx1">
                  <a:lumMod val="50000"/>
                  <a:lumOff val="50000"/>
                </a:schemeClr>
              </a:buClr>
              <a:buSzPct val="100000"/>
              <a:defRPr/>
            </a:lvl2pPr>
            <a:lvl3pPr marL="1097280">
              <a:buClr>
                <a:schemeClr val="tx1">
                  <a:lumMod val="50000"/>
                  <a:lumOff val="50000"/>
                </a:schemeClr>
              </a:buClr>
              <a:buSzPct val="100000"/>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05206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9108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9224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30845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3211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229832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75710899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2284351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6746649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2310611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20940246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121113525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96527696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52154284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12140146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90794481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673285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849110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6367491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Text Placeholder 4">
            <a:extLst>
              <a:ext uri="{FF2B5EF4-FFF2-40B4-BE49-F238E27FC236}">
                <a16:creationId xmlns:a16="http://schemas.microsoft.com/office/drawing/2014/main" id="{CCC8691F-DADE-4D0A-8115-9B3B796034E0}"/>
              </a:ext>
            </a:extLst>
          </p:cNvPr>
          <p:cNvSpPr>
            <a:spLocks noGrp="1"/>
          </p:cNvSpPr>
          <p:nvPr>
            <p:ph type="body" sz="quarter" idx="11" hasCustomPrompt="1"/>
          </p:nvPr>
        </p:nvSpPr>
        <p:spPr>
          <a:xfrm>
            <a:off x="455995"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AD57A03F-09DB-4FBF-A5BF-1DE6B7FC0CB5}"/>
              </a:ext>
            </a:extLst>
          </p:cNvPr>
          <p:cNvSpPr>
            <a:spLocks noGrp="1"/>
          </p:cNvSpPr>
          <p:nvPr>
            <p:ph type="body" sz="quarter" idx="19" hasCustomPrompt="1"/>
          </p:nvPr>
        </p:nvSpPr>
        <p:spPr>
          <a:xfrm>
            <a:off x="4286808"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Tree>
    <p:extLst>
      <p:ext uri="{BB962C8B-B14F-4D97-AF65-F5344CB8AC3E}">
        <p14:creationId xmlns:p14="http://schemas.microsoft.com/office/powerpoint/2010/main" val="274480306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74941343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13555279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80354707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69180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88947930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329926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5139809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167108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3337271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85696569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57455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7" name="Picture Placeholder 27">
            <a:extLst>
              <a:ext uri="{FF2B5EF4-FFF2-40B4-BE49-F238E27FC236}">
                <a16:creationId xmlns:a16="http://schemas.microsoft.com/office/drawing/2014/main" id="{5496F88C-A399-48D0-ABC4-07E2F5BAD15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8" name="Picture Placeholder 27">
            <a:extLst>
              <a:ext uri="{FF2B5EF4-FFF2-40B4-BE49-F238E27FC236}">
                <a16:creationId xmlns:a16="http://schemas.microsoft.com/office/drawing/2014/main" id="{0C21610F-709F-4799-BDC8-F5E07C8E753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10" name="Picture Placeholder 27">
            <a:extLst>
              <a:ext uri="{FF2B5EF4-FFF2-40B4-BE49-F238E27FC236}">
                <a16:creationId xmlns:a16="http://schemas.microsoft.com/office/drawing/2014/main" id="{D45E4476-7B91-4BF1-BEE6-AA780631C750}"/>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11" name="Picture Placeholder 27">
            <a:extLst>
              <a:ext uri="{FF2B5EF4-FFF2-40B4-BE49-F238E27FC236}">
                <a16:creationId xmlns:a16="http://schemas.microsoft.com/office/drawing/2014/main" id="{5AC165B8-0458-4204-A626-058362AA6257}"/>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12" name="Picture Placeholder 27">
            <a:extLst>
              <a:ext uri="{FF2B5EF4-FFF2-40B4-BE49-F238E27FC236}">
                <a16:creationId xmlns:a16="http://schemas.microsoft.com/office/drawing/2014/main" id="{1221D2EB-E466-48FD-BA3C-CBCAA9CB7AF3}"/>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13" name="Picture Placeholder 27">
            <a:extLst>
              <a:ext uri="{FF2B5EF4-FFF2-40B4-BE49-F238E27FC236}">
                <a16:creationId xmlns:a16="http://schemas.microsoft.com/office/drawing/2014/main" id="{D1ABACC9-8C8F-4BA1-B371-EF3BFD1A8D8E}"/>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14" name="Picture Placeholder 27">
            <a:extLst>
              <a:ext uri="{FF2B5EF4-FFF2-40B4-BE49-F238E27FC236}">
                <a16:creationId xmlns:a16="http://schemas.microsoft.com/office/drawing/2014/main" id="{7675766E-F1E6-47EC-A787-5D8F033D48B4}"/>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27581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7803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9175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B211B-2461-4B9F-BA8C-284E0DB596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E9AC44-84E1-4E6F-BAEC-645C4BDB9B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F704E1-8F17-401F-A5DA-78D856867F08}"/>
              </a:ext>
            </a:extLst>
          </p:cNvPr>
          <p:cNvSpPr>
            <a:spLocks noGrp="1"/>
          </p:cNvSpPr>
          <p:nvPr>
            <p:ph type="dt" sz="half" idx="10"/>
          </p:nvPr>
        </p:nvSpPr>
        <p:spPr/>
        <p:txBody>
          <a:bodyPr/>
          <a:lstStyle/>
          <a:p>
            <a:fld id="{359D067C-962C-437E-A0A2-08F853FA38DF}" type="datetimeFigureOut">
              <a:rPr lang="en-US" smtClean="0"/>
              <a:t>3/29/2021</a:t>
            </a:fld>
            <a:endParaRPr lang="en-US"/>
          </a:p>
        </p:txBody>
      </p:sp>
      <p:sp>
        <p:nvSpPr>
          <p:cNvPr id="5" name="Footer Placeholder 4">
            <a:extLst>
              <a:ext uri="{FF2B5EF4-FFF2-40B4-BE49-F238E27FC236}">
                <a16:creationId xmlns:a16="http://schemas.microsoft.com/office/drawing/2014/main" id="{2B9DA1EB-778F-4452-8B63-7001376E22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BF147-9ACC-436C-9400-E0E719D962DF}"/>
              </a:ext>
            </a:extLst>
          </p:cNvPr>
          <p:cNvSpPr>
            <a:spLocks noGrp="1"/>
          </p:cNvSpPr>
          <p:nvPr>
            <p:ph type="sldNum" sz="quarter" idx="12"/>
          </p:nvPr>
        </p:nvSpPr>
        <p:spPr/>
        <p:txBody>
          <a:bodyPr/>
          <a:lstStyle/>
          <a:p>
            <a:fld id="{4F3D8C6D-7F86-49EE-85D0-46BDCF8324B7}" type="slidenum">
              <a:rPr lang="en-US" smtClean="0"/>
              <a:t>‹#›</a:t>
            </a:fld>
            <a:endParaRPr lang="en-US"/>
          </a:p>
        </p:txBody>
      </p:sp>
    </p:spTree>
    <p:extLst>
      <p:ext uri="{BB962C8B-B14F-4D97-AF65-F5344CB8AC3E}">
        <p14:creationId xmlns:p14="http://schemas.microsoft.com/office/powerpoint/2010/main" val="64209559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93663859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000"/>
            </a:lvl1p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01738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136605"/>
            <a:ext cx="9230589" cy="157012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7476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75827"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6108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282896"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68043632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userDrawn="1"/>
        </p:nvPicPr>
        <p:blipFill>
          <a:blip r:embed="rId2"/>
          <a:src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4518" y="613556"/>
            <a:ext cx="1366440" cy="292608"/>
          </a:xfrm>
          <a:prstGeom prst="rect">
            <a:avLst/>
          </a:prstGeom>
        </p:spPr>
      </p:pic>
      <p:sp>
        <p:nvSpPr>
          <p:cNvPr id="12" name="Text Placeholder 4">
            <a:extLst>
              <a:ext uri="{FF2B5EF4-FFF2-40B4-BE49-F238E27FC236}">
                <a16:creationId xmlns:a16="http://schemas.microsoft.com/office/drawing/2014/main" id="{5AF0652F-7102-4C27-A256-1E62A5FF6BFC}"/>
              </a:ext>
            </a:extLst>
          </p:cNvPr>
          <p:cNvSpPr txBox="1">
            <a:spLocks/>
          </p:cNvSpPr>
          <p:nvPr userDrawn="1"/>
        </p:nvSpPr>
        <p:spPr>
          <a:xfrm>
            <a:off x="568960" y="6259684"/>
            <a:ext cx="4163498" cy="307777"/>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0" baseline="0">
                <a:solidFill>
                  <a:srgbClr val="0078D4"/>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icrosoft.com/Learn</a:t>
            </a:r>
          </a:p>
        </p:txBody>
      </p:sp>
    </p:spTree>
    <p:extLst>
      <p:ext uri="{BB962C8B-B14F-4D97-AF65-F5344CB8AC3E}">
        <p14:creationId xmlns:p14="http://schemas.microsoft.com/office/powerpoint/2010/main" val="708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033708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2F454218-0D46-4351-BBBB-D82416BE5B22}"/>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4" name="Image" descr="Image">
            <a:extLst>
              <a:ext uri="{FF2B5EF4-FFF2-40B4-BE49-F238E27FC236}">
                <a16:creationId xmlns:a16="http://schemas.microsoft.com/office/drawing/2014/main" id="{639BE83B-0B32-4FF7-946B-BAF64DA16D80}"/>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sp>
        <p:nvSpPr>
          <p:cNvPr id="9" name="Title 1"/>
          <p:cNvSpPr>
            <a:spLocks noGrp="1"/>
          </p:cNvSpPr>
          <p:nvPr>
            <p:ph type="title" hasCustomPrompt="1"/>
          </p:nvPr>
        </p:nvSpPr>
        <p:spPr>
          <a:xfrm>
            <a:off x="584200" y="2979778"/>
            <a:ext cx="6883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6883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2" name="MS logo white - EMF" descr="Microsoft logo white text version">
            <a:extLst>
              <a:ext uri="{FF2B5EF4-FFF2-40B4-BE49-F238E27FC236}">
                <a16:creationId xmlns:a16="http://schemas.microsoft.com/office/drawing/2014/main" id="{FBA90332-A7D9-4353-82A5-431FF1E924E8}"/>
              </a:ext>
            </a:extLst>
          </p:cNvPr>
          <p:cNvPicPr>
            <a:picLocks noChangeAspect="1"/>
          </p:cNvPicPr>
          <p:nvPr userDrawn="1"/>
        </p:nvPicPr>
        <p:blipFill>
          <a:blip r:embed="rId4"/>
          <a:stretch>
            <a:fillRect/>
          </a:stretch>
        </p:blipFill>
        <p:spPr bwMode="invGray">
          <a:xfrm>
            <a:off x="584200" y="585788"/>
            <a:ext cx="1366245" cy="292608"/>
          </a:xfrm>
          <a:prstGeom prst="rect">
            <a:avLst/>
          </a:prstGeom>
        </p:spPr>
      </p:pic>
    </p:spTree>
    <p:extLst>
      <p:ext uri="{BB962C8B-B14F-4D97-AF65-F5344CB8AC3E}">
        <p14:creationId xmlns:p14="http://schemas.microsoft.com/office/powerpoint/2010/main" val="291753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704">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416544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4823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90471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03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80555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47571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34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213225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3209589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82294313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7826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221317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642756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830997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endParaRPr lang="en-US" dirty="0"/>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71928073"/>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805771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8050143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292176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076459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34778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48802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343296801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148483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364742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675317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116853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2656532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0137046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101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47415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05088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44440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10542551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2299621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7708205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959692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4084061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3223"/>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882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 or subtitle</a:t>
            </a:r>
          </a:p>
        </p:txBody>
      </p:sp>
    </p:spTree>
    <p:extLst>
      <p:ext uri="{BB962C8B-B14F-4D97-AF65-F5344CB8AC3E}">
        <p14:creationId xmlns:p14="http://schemas.microsoft.com/office/powerpoint/2010/main" val="3636009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43A5E"/>
        </a:solidFill>
        <a:effectLst/>
      </p:bgPr>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5808"/>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83632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55135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580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99853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61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82351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7461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5756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76095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3431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0190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542670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68461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2646834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957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964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805446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0101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83077353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394600"/>
            <a:ext cx="6392810" cy="1480405"/>
          </a:xfrm>
        </p:spPr>
        <p:txBody>
          <a:bodyPr anchor="t"/>
          <a:lstStyle>
            <a:lvl1pPr marL="0" indent="0">
              <a:spcBef>
                <a:spcPts val="1200"/>
              </a:spcBef>
              <a:spcAft>
                <a:spcPts val="600"/>
              </a:spcAft>
              <a:buNone/>
              <a:defRPr sz="2400">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463715"/>
            <a:ext cx="2851980" cy="553998"/>
          </a:xfrm>
        </p:spPr>
        <p:txBody>
          <a:bodyPr/>
          <a:lstStyle>
            <a:lvl1pPr>
              <a:defRPr>
                <a:solidFill>
                  <a:schemeClr val="accent2"/>
                </a:solidFill>
              </a:defRPr>
            </a:lvl1pPr>
          </a:lstStyle>
          <a:p>
            <a:r>
              <a:rPr lang="en-US"/>
              <a:t>Click to</a:t>
            </a:r>
          </a:p>
        </p:txBody>
      </p:sp>
    </p:spTree>
    <p:extLst>
      <p:ext uri="{BB962C8B-B14F-4D97-AF65-F5344CB8AC3E}">
        <p14:creationId xmlns:p14="http://schemas.microsoft.com/office/powerpoint/2010/main" val="30306146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111677"/>
            <a:ext cx="5958095" cy="1344984"/>
          </a:xfrm>
        </p:spPr>
        <p:txBody>
          <a:bodyPr anchor="t"/>
          <a:lstStyle>
            <a:lvl1pPr marL="0" indent="0">
              <a:spcBef>
                <a:spcPts val="1200"/>
              </a:spcBef>
              <a:spcAft>
                <a:spcPts val="600"/>
              </a:spcAft>
              <a:buNone/>
              <a:defRPr sz="2000"/>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D4E9B4A3-7849-4797-ACCB-22200180F6BB}"/>
              </a:ext>
            </a:extLst>
          </p:cNvPr>
          <p:cNvSpPr>
            <a:spLocks noGrp="1"/>
          </p:cNvSpPr>
          <p:nvPr>
            <p:ph type="title"/>
          </p:nvPr>
        </p:nvSpPr>
        <p:spPr>
          <a:xfrm>
            <a:off x="4849813" y="457200"/>
            <a:ext cx="6756970" cy="553998"/>
          </a:xfrm>
        </p:spPr>
        <p:txBody>
          <a:bodyPr/>
          <a:lstStyle/>
          <a:p>
            <a:r>
              <a:rPr lang="en-US"/>
              <a:t>Click to edit Master title style</a:t>
            </a:r>
          </a:p>
        </p:txBody>
      </p:sp>
      <p:sp>
        <p:nvSpPr>
          <p:cNvPr id="6" name="Text Placeholder 6">
            <a:extLst>
              <a:ext uri="{FF2B5EF4-FFF2-40B4-BE49-F238E27FC236}">
                <a16:creationId xmlns:a16="http://schemas.microsoft.com/office/drawing/2014/main" id="{0E64CAD8-4ECB-4FA2-B572-862C3C535B48}"/>
              </a:ext>
            </a:extLst>
          </p:cNvPr>
          <p:cNvSpPr>
            <a:spLocks noGrp="1"/>
          </p:cNvSpPr>
          <p:nvPr>
            <p:ph type="body" sz="quarter" idx="14"/>
          </p:nvPr>
        </p:nvSpPr>
        <p:spPr>
          <a:xfrm>
            <a:off x="4849813" y="1031316"/>
            <a:ext cx="6392810" cy="492443"/>
          </a:xfrm>
        </p:spPr>
        <p:txBody>
          <a:bodyPr anchor="t"/>
          <a:lstStyle>
            <a:lvl1pPr marL="0" indent="0">
              <a:spcBef>
                <a:spcPts val="1200"/>
              </a:spcBef>
              <a:spcAft>
                <a:spcPts val="600"/>
              </a:spcAft>
              <a:buNone/>
              <a:defRPr sz="3200" b="1">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p:txBody>
      </p:sp>
    </p:spTree>
    <p:extLst>
      <p:ext uri="{BB962C8B-B14F-4D97-AF65-F5344CB8AC3E}">
        <p14:creationId xmlns:p14="http://schemas.microsoft.com/office/powerpoint/2010/main" val="38233042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4614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7582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26724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37626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2436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5772628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gradFill>
                  <a:gsLst>
                    <a:gs pos="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p:spPr>
        <p:txBody>
          <a:bodyPr anchor="ctr" anchorCtr="0">
            <a:noAutofit/>
          </a:bodyPr>
          <a:lstStyle>
            <a:lvl1pPr algn="ctr">
              <a:defRPr>
                <a:gradFill>
                  <a:gsLst>
                    <a:gs pos="0">
                      <a:schemeClr val="bg1"/>
                    </a:gs>
                    <a:gs pos="100000">
                      <a:schemeClr val="bg1"/>
                    </a:gs>
                  </a:gsLst>
                  <a:lin ang="5400000" scaled="1"/>
                </a:gra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7093095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0501506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2896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5937378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3001353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7902061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499115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29391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44818072"/>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5204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00445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5424860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382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4043866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0877522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918036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97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41462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14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96162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815C6-564C-4C28-9B39-5913B39208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E393E15-9308-4A69-A434-7502734660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DEAFB6-B6C0-4761-BCFF-43942C585458}"/>
              </a:ext>
            </a:extLst>
          </p:cNvPr>
          <p:cNvSpPr>
            <a:spLocks noGrp="1"/>
          </p:cNvSpPr>
          <p:nvPr>
            <p:ph type="dt" sz="half" idx="10"/>
          </p:nvPr>
        </p:nvSpPr>
        <p:spPr/>
        <p:txBody>
          <a:bodyPr/>
          <a:lstStyle/>
          <a:p>
            <a:fld id="{AB418EC6-A7C0-45EC-9569-8900DE822755}" type="datetimeFigureOut">
              <a:rPr lang="en-US" smtClean="0"/>
              <a:t>3/29/2021</a:t>
            </a:fld>
            <a:endParaRPr lang="en-US"/>
          </a:p>
        </p:txBody>
      </p:sp>
      <p:sp>
        <p:nvSpPr>
          <p:cNvPr id="5" name="Footer Placeholder 4">
            <a:extLst>
              <a:ext uri="{FF2B5EF4-FFF2-40B4-BE49-F238E27FC236}">
                <a16:creationId xmlns:a16="http://schemas.microsoft.com/office/drawing/2014/main" id="{91C4D7F9-F41F-4B1E-A905-3D4035409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3BE494-8370-4550-9204-72B7CCBC56AD}"/>
              </a:ext>
            </a:extLst>
          </p:cNvPr>
          <p:cNvSpPr>
            <a:spLocks noGrp="1"/>
          </p:cNvSpPr>
          <p:nvPr>
            <p:ph type="sldNum" sz="quarter" idx="12"/>
          </p:nvPr>
        </p:nvSpPr>
        <p:spPr/>
        <p:txBody>
          <a:bodyPr/>
          <a:lstStyle/>
          <a:p>
            <a:fld id="{D8D1F8D1-C7FB-46BF-B328-D0A207C11741}" type="slidenum">
              <a:rPr lang="en-US" smtClean="0"/>
              <a:t>‹#›</a:t>
            </a:fld>
            <a:endParaRPr lang="en-US"/>
          </a:p>
        </p:txBody>
      </p:sp>
    </p:spTree>
    <p:extLst>
      <p:ext uri="{BB962C8B-B14F-4D97-AF65-F5344CB8AC3E}">
        <p14:creationId xmlns:p14="http://schemas.microsoft.com/office/powerpoint/2010/main" val="305045746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ote Black">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88EC491-1C24-B94A-9B63-4FBAD642BAE9}"/>
              </a:ext>
            </a:extLst>
          </p:cNvPr>
          <p:cNvSpPr>
            <a:spLocks noGrp="1"/>
          </p:cNvSpPr>
          <p:nvPr>
            <p:ph type="subTitle" idx="1" hasCustomPrompt="1"/>
          </p:nvPr>
        </p:nvSpPr>
        <p:spPr>
          <a:xfrm>
            <a:off x="2611553" y="4137077"/>
            <a:ext cx="6968896" cy="430887"/>
          </a:xfrm>
          <a:prstGeom prst="rect">
            <a:avLst/>
          </a:prstGeom>
        </p:spPr>
        <p:txBody>
          <a:bodyPr wrap="square">
            <a:spAutoFit/>
          </a:bodyPr>
          <a:lstStyle>
            <a:lvl1pPr marL="0" indent="0" algn="ctr">
              <a:lnSpc>
                <a:spcPct val="100000"/>
              </a:lnSpc>
              <a:buNone/>
              <a:defRPr sz="2200" cap="all" spc="44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sp>
        <p:nvSpPr>
          <p:cNvPr id="5" name="Text Placeholder 4">
            <a:extLst>
              <a:ext uri="{FF2B5EF4-FFF2-40B4-BE49-F238E27FC236}">
                <a16:creationId xmlns:a16="http://schemas.microsoft.com/office/drawing/2014/main" id="{8BAEFE32-6500-6148-82F2-4CE1E691ACC1}"/>
              </a:ext>
            </a:extLst>
          </p:cNvPr>
          <p:cNvSpPr>
            <a:spLocks noGrp="1"/>
          </p:cNvSpPr>
          <p:nvPr>
            <p:ph type="body" sz="quarter" idx="10" hasCustomPrompt="1"/>
          </p:nvPr>
        </p:nvSpPr>
        <p:spPr>
          <a:xfrm>
            <a:off x="2611552" y="2460172"/>
            <a:ext cx="6968897" cy="1349602"/>
          </a:xfrm>
          <a:prstGeom prst="rect">
            <a:avLst/>
          </a:prstGeom>
        </p:spPr>
        <p:txBody>
          <a:bodyPr/>
          <a:lstStyle>
            <a:lvl1pPr marL="0" indent="0" algn="ctr">
              <a:lnSpc>
                <a:spcPct val="120000"/>
              </a:lnSpc>
              <a:buNone/>
              <a:defRPr sz="2200" b="0" i="0" spc="0" baseline="0">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grpSp>
        <p:nvGrpSpPr>
          <p:cNvPr id="6" name="Group 5">
            <a:extLst>
              <a:ext uri="{FF2B5EF4-FFF2-40B4-BE49-F238E27FC236}">
                <a16:creationId xmlns:a16="http://schemas.microsoft.com/office/drawing/2014/main" id="{C1B6FB3F-86B0-F24A-938A-BA5676A17EBB}"/>
              </a:ext>
            </a:extLst>
          </p:cNvPr>
          <p:cNvGrpSpPr/>
          <p:nvPr userDrawn="1"/>
        </p:nvGrpSpPr>
        <p:grpSpPr>
          <a:xfrm rot="5400000">
            <a:off x="10128268" y="2370357"/>
            <a:ext cx="6748141" cy="2227148"/>
            <a:chOff x="8206313" y="6182284"/>
            <a:chExt cx="12824005" cy="4231313"/>
          </a:xfrm>
        </p:grpSpPr>
        <p:pic>
          <p:nvPicPr>
            <p:cNvPr id="7" name="Image" descr="Image">
              <a:extLst>
                <a:ext uri="{FF2B5EF4-FFF2-40B4-BE49-F238E27FC236}">
                  <a16:creationId xmlns:a16="http://schemas.microsoft.com/office/drawing/2014/main" id="{283D4BED-A46C-904E-83B9-B9B92D512F77}"/>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8" name="R134 G97 B197…">
              <a:extLst>
                <a:ext uri="{FF2B5EF4-FFF2-40B4-BE49-F238E27FC236}">
                  <a16:creationId xmlns:a16="http://schemas.microsoft.com/office/drawing/2014/main" id="{AA8BD064-D5DF-1843-A453-FD6F500426EE}"/>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0" name="R59 G46 B88…">
              <a:extLst>
                <a:ext uri="{FF2B5EF4-FFF2-40B4-BE49-F238E27FC236}">
                  <a16:creationId xmlns:a16="http://schemas.microsoft.com/office/drawing/2014/main" id="{EA6A3093-C04F-2E47-9455-811BD8DDCF06}"/>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1" name="R213 G157 B255…">
              <a:extLst>
                <a:ext uri="{FF2B5EF4-FFF2-40B4-BE49-F238E27FC236}">
                  <a16:creationId xmlns:a16="http://schemas.microsoft.com/office/drawing/2014/main" id="{D0603156-7C79-0B4C-8409-6A14E8974898}"/>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2" name="R161 G133 B210…">
              <a:extLst>
                <a:ext uri="{FF2B5EF4-FFF2-40B4-BE49-F238E27FC236}">
                  <a16:creationId xmlns:a16="http://schemas.microsoft.com/office/drawing/2014/main" id="{287424CE-4273-9340-86EE-3370A10C95EF}"/>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3" name="R0 G120 B212…">
              <a:extLst>
                <a:ext uri="{FF2B5EF4-FFF2-40B4-BE49-F238E27FC236}">
                  <a16:creationId xmlns:a16="http://schemas.microsoft.com/office/drawing/2014/main" id="{437B39D9-C292-2449-908D-C180CDFDEBEE}"/>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4" name="R36 G58 B94…">
              <a:extLst>
                <a:ext uri="{FF2B5EF4-FFF2-40B4-BE49-F238E27FC236}">
                  <a16:creationId xmlns:a16="http://schemas.microsoft.com/office/drawing/2014/main" id="{B872BDC9-2C39-994A-840E-90F111A9AACD}"/>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5" name="R80 G230 B255…">
              <a:extLst>
                <a:ext uri="{FF2B5EF4-FFF2-40B4-BE49-F238E27FC236}">
                  <a16:creationId xmlns:a16="http://schemas.microsoft.com/office/drawing/2014/main" id="{84EF78B7-B61B-C34D-B710-FA636CCC17C3}"/>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6" name="R40 G167 B233…">
              <a:extLst>
                <a:ext uri="{FF2B5EF4-FFF2-40B4-BE49-F238E27FC236}">
                  <a16:creationId xmlns:a16="http://schemas.microsoft.com/office/drawing/2014/main" id="{50FAA26B-811E-2246-9CE3-6C7E763C0A66}"/>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17" name="R0 G133 B117   Hex #008575   C100 M15 Y60 K0   PMS 3285 C">
              <a:extLst>
                <a:ext uri="{FF2B5EF4-FFF2-40B4-BE49-F238E27FC236}">
                  <a16:creationId xmlns:a16="http://schemas.microsoft.com/office/drawing/2014/main" id="{12513E89-44C0-5040-AC07-96B414F9B275}"/>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18" name="R39 G75 B71   Hex #274b47…">
              <a:extLst>
                <a:ext uri="{FF2B5EF4-FFF2-40B4-BE49-F238E27FC236}">
                  <a16:creationId xmlns:a16="http://schemas.microsoft.com/office/drawing/2014/main" id="{ECECA43E-F361-E947-B9A6-8D0C6D47D77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19" name="R48 G229 B208…">
              <a:extLst>
                <a:ext uri="{FF2B5EF4-FFF2-40B4-BE49-F238E27FC236}">
                  <a16:creationId xmlns:a16="http://schemas.microsoft.com/office/drawing/2014/main" id="{727421A1-E37E-F14E-80BB-0D5C402D7600}"/>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0" name="R40 G194 B209…">
              <a:extLst>
                <a:ext uri="{FF2B5EF4-FFF2-40B4-BE49-F238E27FC236}">
                  <a16:creationId xmlns:a16="http://schemas.microsoft.com/office/drawing/2014/main" id="{37EE231A-51CE-024E-9CB4-CC8FA2217DD9}"/>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1" name="R16 G124 B16  Hex #107c10  C75 M0 Y100 K0   PMS 362 C">
              <a:extLst>
                <a:ext uri="{FF2B5EF4-FFF2-40B4-BE49-F238E27FC236}">
                  <a16:creationId xmlns:a16="http://schemas.microsoft.com/office/drawing/2014/main" id="{8314D691-744E-6A46-BEEC-11B5BB520BEB}"/>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2" name="R5 G75 B22   Hex #054b16…">
              <a:extLst>
                <a:ext uri="{FF2B5EF4-FFF2-40B4-BE49-F238E27FC236}">
                  <a16:creationId xmlns:a16="http://schemas.microsoft.com/office/drawing/2014/main" id="{3FB4E0BF-EDC8-534C-B6B6-C6101C26E669}"/>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3" name="R155 G240 B11…">
              <a:extLst>
                <a:ext uri="{FF2B5EF4-FFF2-40B4-BE49-F238E27FC236}">
                  <a16:creationId xmlns:a16="http://schemas.microsoft.com/office/drawing/2014/main" id="{C5630AE6-156F-E347-8BD6-948BA75E6474}"/>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4" name="R127 G186 B0…">
              <a:extLst>
                <a:ext uri="{FF2B5EF4-FFF2-40B4-BE49-F238E27FC236}">
                  <a16:creationId xmlns:a16="http://schemas.microsoft.com/office/drawing/2014/main" id="{255A1E7E-AF91-3045-A4AE-F9858A257672}"/>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5" name="R216 G59 B1…">
              <a:extLst>
                <a:ext uri="{FF2B5EF4-FFF2-40B4-BE49-F238E27FC236}">
                  <a16:creationId xmlns:a16="http://schemas.microsoft.com/office/drawing/2014/main" id="{53906A8F-930C-AB4C-A2E4-72FA1727FF32}"/>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6" name="R107 G41 B41…">
              <a:extLst>
                <a:ext uri="{FF2B5EF4-FFF2-40B4-BE49-F238E27FC236}">
                  <a16:creationId xmlns:a16="http://schemas.microsoft.com/office/drawing/2014/main" id="{9D3A9914-F684-3647-846B-A560A548A3BB}"/>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27" name="R255 G147 B73…">
              <a:extLst>
                <a:ext uri="{FF2B5EF4-FFF2-40B4-BE49-F238E27FC236}">
                  <a16:creationId xmlns:a16="http://schemas.microsoft.com/office/drawing/2014/main" id="{D3699238-9EA3-0742-A247-AA0905E926E1}"/>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28" name="R241 G101 B34…">
              <a:extLst>
                <a:ext uri="{FF2B5EF4-FFF2-40B4-BE49-F238E27FC236}">
                  <a16:creationId xmlns:a16="http://schemas.microsoft.com/office/drawing/2014/main" id="{2FA3FB3D-3CE9-0F49-AE9C-B7B03F8580AC}"/>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29" name="R255 G185 B0…">
              <a:extLst>
                <a:ext uri="{FF2B5EF4-FFF2-40B4-BE49-F238E27FC236}">
                  <a16:creationId xmlns:a16="http://schemas.microsoft.com/office/drawing/2014/main" id="{EB556B2B-8EF2-D94C-9B22-63EB5C57180E}"/>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0" name="R106 G75 B22…">
              <a:extLst>
                <a:ext uri="{FF2B5EF4-FFF2-40B4-BE49-F238E27FC236}">
                  <a16:creationId xmlns:a16="http://schemas.microsoft.com/office/drawing/2014/main" id="{7C5425CE-E4CC-AE46-A6A4-AC9D48322CEE}"/>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1" name="R254 G240 B0…">
              <a:extLst>
                <a:ext uri="{FF2B5EF4-FFF2-40B4-BE49-F238E27FC236}">
                  <a16:creationId xmlns:a16="http://schemas.microsoft.com/office/drawing/2014/main" id="{A761C67C-3535-4446-84F6-97297739F793}"/>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2" name="R254 G212 B0…">
              <a:extLst>
                <a:ext uri="{FF2B5EF4-FFF2-40B4-BE49-F238E27FC236}">
                  <a16:creationId xmlns:a16="http://schemas.microsoft.com/office/drawing/2014/main" id="{32CBD316-139C-D445-A34D-8B0C8F310CA6}"/>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3" name="Image" descr="Image">
              <a:extLst>
                <a:ext uri="{FF2B5EF4-FFF2-40B4-BE49-F238E27FC236}">
                  <a16:creationId xmlns:a16="http://schemas.microsoft.com/office/drawing/2014/main" id="{2273861A-65C8-AE4D-B420-3D441ECB9937}"/>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4" name="R242 G242 B242…">
              <a:extLst>
                <a:ext uri="{FF2B5EF4-FFF2-40B4-BE49-F238E27FC236}">
                  <a16:creationId xmlns:a16="http://schemas.microsoft.com/office/drawing/2014/main" id="{0A99623C-0664-AD42-8EE0-4B9975A379AB}"/>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5" name="R230 G230 B230…">
              <a:extLst>
                <a:ext uri="{FF2B5EF4-FFF2-40B4-BE49-F238E27FC236}">
                  <a16:creationId xmlns:a16="http://schemas.microsoft.com/office/drawing/2014/main" id="{1850ECE4-E22D-7B4B-9987-9A4D957F1D37}"/>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6" name="R210 G210 B210…">
              <a:extLst>
                <a:ext uri="{FF2B5EF4-FFF2-40B4-BE49-F238E27FC236}">
                  <a16:creationId xmlns:a16="http://schemas.microsoft.com/office/drawing/2014/main" id="{3650D9DE-5F16-8F4C-A39D-D99E083E2B9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37" name="R115 G115 B115…">
              <a:extLst>
                <a:ext uri="{FF2B5EF4-FFF2-40B4-BE49-F238E27FC236}">
                  <a16:creationId xmlns:a16="http://schemas.microsoft.com/office/drawing/2014/main" id="{3F4AD3A5-1D60-5946-969A-95BD8F45CC6F}"/>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38" name="R80 G80 B80…">
              <a:extLst>
                <a:ext uri="{FF2B5EF4-FFF2-40B4-BE49-F238E27FC236}">
                  <a16:creationId xmlns:a16="http://schemas.microsoft.com/office/drawing/2014/main" id="{E3CC6CD8-98EE-0842-BE06-00097DF0B4E5}"/>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39" name="R47 G47 B47…">
              <a:extLst>
                <a:ext uri="{FF2B5EF4-FFF2-40B4-BE49-F238E27FC236}">
                  <a16:creationId xmlns:a16="http://schemas.microsoft.com/office/drawing/2014/main" id="{433EC8C7-81B8-774B-9430-DBF85FC0F68D}"/>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0" name="R0 G0 B0…">
              <a:extLst>
                <a:ext uri="{FF2B5EF4-FFF2-40B4-BE49-F238E27FC236}">
                  <a16:creationId xmlns:a16="http://schemas.microsoft.com/office/drawing/2014/main" id="{61AD9472-9E98-2840-850E-217E1959E4DE}"/>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1" name="Primary">
              <a:extLst>
                <a:ext uri="{FF2B5EF4-FFF2-40B4-BE49-F238E27FC236}">
                  <a16:creationId xmlns:a16="http://schemas.microsoft.com/office/drawing/2014/main" id="{3F5C37D3-012C-6A4E-935C-8B7B1AEF0507}"/>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2" name="Secondary">
              <a:extLst>
                <a:ext uri="{FF2B5EF4-FFF2-40B4-BE49-F238E27FC236}">
                  <a16:creationId xmlns:a16="http://schemas.microsoft.com/office/drawing/2014/main" id="{D3002086-8480-1E44-9E16-9EE0F4861015}"/>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3" name="Primary">
              <a:extLst>
                <a:ext uri="{FF2B5EF4-FFF2-40B4-BE49-F238E27FC236}">
                  <a16:creationId xmlns:a16="http://schemas.microsoft.com/office/drawing/2014/main" id="{AC8DCEF6-B773-C749-8C01-07E040291577}"/>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4" name="Secondary">
              <a:extLst>
                <a:ext uri="{FF2B5EF4-FFF2-40B4-BE49-F238E27FC236}">
                  <a16:creationId xmlns:a16="http://schemas.microsoft.com/office/drawing/2014/main" id="{A2D9EB29-1D3C-7C42-950D-320446EBD717}"/>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Tree>
    <p:extLst>
      <p:ext uri="{BB962C8B-B14F-4D97-AF65-F5344CB8AC3E}">
        <p14:creationId xmlns:p14="http://schemas.microsoft.com/office/powerpoint/2010/main" val="370556210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88269630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4048121" y="2019300"/>
            <a:ext cx="756429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Agenda</a:t>
            </a:r>
          </a:p>
        </p:txBody>
      </p:sp>
      <p:sp>
        <p:nvSpPr>
          <p:cNvPr id="50" name="Text Placeholder 6">
            <a:extLst>
              <a:ext uri="{FF2B5EF4-FFF2-40B4-BE49-F238E27FC236}">
                <a16:creationId xmlns:a16="http://schemas.microsoft.com/office/drawing/2014/main" id="{C6A1F9B0-9726-2C40-B822-434EDCAA2047}"/>
              </a:ext>
            </a:extLst>
          </p:cNvPr>
          <p:cNvSpPr>
            <a:spLocks noGrp="1"/>
          </p:cNvSpPr>
          <p:nvPr>
            <p:ph type="body" sz="quarter" idx="11" hasCustomPrompt="1"/>
          </p:nvPr>
        </p:nvSpPr>
        <p:spPr>
          <a:xfrm>
            <a:off x="594852" y="2019300"/>
            <a:ext cx="283290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000" b="1" spc="0" baseline="0">
                <a:solidFill>
                  <a:srgbClr val="2F2F2F"/>
                </a:solidFill>
                <a:latin typeface="Segoe UI" panose="020B0502040204020203" pitchFamily="34" charset="0"/>
                <a:cs typeface="Segoe UI" panose="020B0502040204020203" pitchFamily="34" charset="0"/>
              </a:defRPr>
            </a:lvl1pPr>
          </a:lstStyle>
          <a:p>
            <a:pPr lvl="0"/>
            <a:r>
              <a:rPr lang="en-US"/>
              <a:t>Agenda item 1</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2</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3</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4</a:t>
            </a:r>
          </a:p>
          <a:p>
            <a:pPr lvl="0"/>
            <a:endParaRPr lang="en-US"/>
          </a:p>
        </p:txBody>
      </p:sp>
      <p:cxnSp>
        <p:nvCxnSpPr>
          <p:cNvPr id="3" name="Straight Connector 2">
            <a:extLst>
              <a:ext uri="{FF2B5EF4-FFF2-40B4-BE49-F238E27FC236}">
                <a16:creationId xmlns:a16="http://schemas.microsoft.com/office/drawing/2014/main" id="{77219F2E-E5C2-F54D-867F-9DA413FD9B1D}"/>
              </a:ext>
            </a:extLst>
          </p:cNvPr>
          <p:cNvCxnSpPr/>
          <p:nvPr userDrawn="1"/>
        </p:nvCxnSpPr>
        <p:spPr>
          <a:xfrm>
            <a:off x="588416" y="1391478"/>
            <a:ext cx="11023996" cy="0"/>
          </a:xfrm>
          <a:prstGeom prst="line">
            <a:avLst/>
          </a:prstGeom>
          <a:noFill/>
          <a:ln w="12700" cap="flat">
            <a:solidFill>
              <a:srgbClr val="0478D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125212309"/>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x" preserve="1">
  <p:cSld name="Blank">
    <p:bg>
      <p:bgPr>
        <a:solidFill>
          <a:srgbClr val="F2F2F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9ABB5-4F33-B04C-AFF0-3805612717CB}"/>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4" name="Group 3">
            <a:extLst>
              <a:ext uri="{FF2B5EF4-FFF2-40B4-BE49-F238E27FC236}">
                <a16:creationId xmlns:a16="http://schemas.microsoft.com/office/drawing/2014/main" id="{A441B92B-640D-1E4D-8223-3E513D16942B}"/>
              </a:ext>
            </a:extLst>
          </p:cNvPr>
          <p:cNvGrpSpPr/>
          <p:nvPr userDrawn="1"/>
        </p:nvGrpSpPr>
        <p:grpSpPr>
          <a:xfrm rot="5400000">
            <a:off x="10128268" y="2370357"/>
            <a:ext cx="6748141" cy="2227148"/>
            <a:chOff x="8206313" y="6182284"/>
            <a:chExt cx="12824005" cy="4231313"/>
          </a:xfrm>
        </p:grpSpPr>
        <p:pic>
          <p:nvPicPr>
            <p:cNvPr id="5" name="Image" descr="Image">
              <a:extLst>
                <a:ext uri="{FF2B5EF4-FFF2-40B4-BE49-F238E27FC236}">
                  <a16:creationId xmlns:a16="http://schemas.microsoft.com/office/drawing/2014/main" id="{E44188F6-9A00-9D4D-BC40-4376F3DD1A85}"/>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6" name="R134 G97 B197…">
              <a:extLst>
                <a:ext uri="{FF2B5EF4-FFF2-40B4-BE49-F238E27FC236}">
                  <a16:creationId xmlns:a16="http://schemas.microsoft.com/office/drawing/2014/main" id="{DFC3007F-3588-9D43-A360-DC86C3FACEAD}"/>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7" name="R59 G46 B88…">
              <a:extLst>
                <a:ext uri="{FF2B5EF4-FFF2-40B4-BE49-F238E27FC236}">
                  <a16:creationId xmlns:a16="http://schemas.microsoft.com/office/drawing/2014/main" id="{5FB5AB3C-2F67-9B4F-ABDF-FD740A2264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8" name="R213 G157 B255…">
              <a:extLst>
                <a:ext uri="{FF2B5EF4-FFF2-40B4-BE49-F238E27FC236}">
                  <a16:creationId xmlns:a16="http://schemas.microsoft.com/office/drawing/2014/main" id="{73F0DA44-B96D-6E45-A170-11844A1361FD}"/>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0" name="R161 G133 B210…">
              <a:extLst>
                <a:ext uri="{FF2B5EF4-FFF2-40B4-BE49-F238E27FC236}">
                  <a16:creationId xmlns:a16="http://schemas.microsoft.com/office/drawing/2014/main" id="{B4026D13-5298-2946-8040-74FCAFFCA199}"/>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1" name="R0 G120 B212…">
              <a:extLst>
                <a:ext uri="{FF2B5EF4-FFF2-40B4-BE49-F238E27FC236}">
                  <a16:creationId xmlns:a16="http://schemas.microsoft.com/office/drawing/2014/main" id="{2FEA6EB9-1860-244B-9897-AA5B6FDB4D31}"/>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2" name="R36 G58 B94…">
              <a:extLst>
                <a:ext uri="{FF2B5EF4-FFF2-40B4-BE49-F238E27FC236}">
                  <a16:creationId xmlns:a16="http://schemas.microsoft.com/office/drawing/2014/main" id="{12BD0209-1457-F249-83CC-7155A757C2A7}"/>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3" name="R80 G230 B255…">
              <a:extLst>
                <a:ext uri="{FF2B5EF4-FFF2-40B4-BE49-F238E27FC236}">
                  <a16:creationId xmlns:a16="http://schemas.microsoft.com/office/drawing/2014/main" id="{9E8407FE-D45E-1F4A-8227-7BE2DB23D6EF}"/>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4" name="R40 G167 B233…">
              <a:extLst>
                <a:ext uri="{FF2B5EF4-FFF2-40B4-BE49-F238E27FC236}">
                  <a16:creationId xmlns:a16="http://schemas.microsoft.com/office/drawing/2014/main" id="{E229A4C4-BE9D-0F47-9E21-5CF3345767AB}"/>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15" name="R0 G133 B117   Hex #008575   C100 M15 Y60 K0   PMS 3285 C">
              <a:extLst>
                <a:ext uri="{FF2B5EF4-FFF2-40B4-BE49-F238E27FC236}">
                  <a16:creationId xmlns:a16="http://schemas.microsoft.com/office/drawing/2014/main" id="{D44177AA-FEE3-6241-A3EE-9414C4CED4C1}"/>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16" name="R39 G75 B71   Hex #274b47…">
              <a:extLst>
                <a:ext uri="{FF2B5EF4-FFF2-40B4-BE49-F238E27FC236}">
                  <a16:creationId xmlns:a16="http://schemas.microsoft.com/office/drawing/2014/main" id="{0B5EE5C3-6A13-0548-8D66-6FD18D9AF523}"/>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17" name="R48 G229 B208…">
              <a:extLst>
                <a:ext uri="{FF2B5EF4-FFF2-40B4-BE49-F238E27FC236}">
                  <a16:creationId xmlns:a16="http://schemas.microsoft.com/office/drawing/2014/main" id="{C6388E27-AB2E-0343-86F1-36B8EAFF3D4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18" name="R40 G194 B209…">
              <a:extLst>
                <a:ext uri="{FF2B5EF4-FFF2-40B4-BE49-F238E27FC236}">
                  <a16:creationId xmlns:a16="http://schemas.microsoft.com/office/drawing/2014/main" id="{F219F6F1-D84F-684E-AB72-030E4A0AC4DF}"/>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19" name="R16 G124 B16  Hex #107c10  C75 M0 Y100 K0   PMS 362 C">
              <a:extLst>
                <a:ext uri="{FF2B5EF4-FFF2-40B4-BE49-F238E27FC236}">
                  <a16:creationId xmlns:a16="http://schemas.microsoft.com/office/drawing/2014/main" id="{BF17FAA6-BDB6-BC4D-912B-90516EE6FEC1}"/>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0" name="R5 G75 B22   Hex #054b16…">
              <a:extLst>
                <a:ext uri="{FF2B5EF4-FFF2-40B4-BE49-F238E27FC236}">
                  <a16:creationId xmlns:a16="http://schemas.microsoft.com/office/drawing/2014/main" id="{0BBE1C91-D002-1644-AD23-4684A805EFE7}"/>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1" name="R155 G240 B11…">
              <a:extLst>
                <a:ext uri="{FF2B5EF4-FFF2-40B4-BE49-F238E27FC236}">
                  <a16:creationId xmlns:a16="http://schemas.microsoft.com/office/drawing/2014/main" id="{8D369F68-8235-3740-A6CB-D38E711462F5}"/>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2" name="R127 G186 B0…">
              <a:extLst>
                <a:ext uri="{FF2B5EF4-FFF2-40B4-BE49-F238E27FC236}">
                  <a16:creationId xmlns:a16="http://schemas.microsoft.com/office/drawing/2014/main" id="{18A141F0-67EC-CE48-8101-E8BA9B6132D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3" name="R216 G59 B1…">
              <a:extLst>
                <a:ext uri="{FF2B5EF4-FFF2-40B4-BE49-F238E27FC236}">
                  <a16:creationId xmlns:a16="http://schemas.microsoft.com/office/drawing/2014/main" id="{3EEE95DC-3BF8-8743-9244-96CD7DFEE375}"/>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4" name="R107 G41 B41…">
              <a:extLst>
                <a:ext uri="{FF2B5EF4-FFF2-40B4-BE49-F238E27FC236}">
                  <a16:creationId xmlns:a16="http://schemas.microsoft.com/office/drawing/2014/main" id="{D1ECA49C-DD08-EF48-A757-F09DEDA4B3D4}"/>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25" name="R255 G147 B73…">
              <a:extLst>
                <a:ext uri="{FF2B5EF4-FFF2-40B4-BE49-F238E27FC236}">
                  <a16:creationId xmlns:a16="http://schemas.microsoft.com/office/drawing/2014/main" id="{C2EF966E-253F-D140-A67B-C7B7E6C91733}"/>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26" name="R241 G101 B34…">
              <a:extLst>
                <a:ext uri="{FF2B5EF4-FFF2-40B4-BE49-F238E27FC236}">
                  <a16:creationId xmlns:a16="http://schemas.microsoft.com/office/drawing/2014/main" id="{F60DCB26-402B-D04C-948F-DE481322171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27" name="R255 G185 B0…">
              <a:extLst>
                <a:ext uri="{FF2B5EF4-FFF2-40B4-BE49-F238E27FC236}">
                  <a16:creationId xmlns:a16="http://schemas.microsoft.com/office/drawing/2014/main" id="{FD7B5561-D5B3-C942-9970-CA280F6C81C4}"/>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28" name="R106 G75 B22…">
              <a:extLst>
                <a:ext uri="{FF2B5EF4-FFF2-40B4-BE49-F238E27FC236}">
                  <a16:creationId xmlns:a16="http://schemas.microsoft.com/office/drawing/2014/main" id="{EA71BF1F-612B-D944-B2AC-6FA71CD5995D}"/>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29" name="R254 G240 B0…">
              <a:extLst>
                <a:ext uri="{FF2B5EF4-FFF2-40B4-BE49-F238E27FC236}">
                  <a16:creationId xmlns:a16="http://schemas.microsoft.com/office/drawing/2014/main" id="{8D4E9CC4-5777-0945-B7E1-C13AA280B1FF}"/>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0" name="R254 G212 B0…">
              <a:extLst>
                <a:ext uri="{FF2B5EF4-FFF2-40B4-BE49-F238E27FC236}">
                  <a16:creationId xmlns:a16="http://schemas.microsoft.com/office/drawing/2014/main" id="{1B023192-B330-3C4A-9210-32EBB85FBE0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1" name="Image" descr="Image">
              <a:extLst>
                <a:ext uri="{FF2B5EF4-FFF2-40B4-BE49-F238E27FC236}">
                  <a16:creationId xmlns:a16="http://schemas.microsoft.com/office/drawing/2014/main" id="{5720E2F2-B39E-D543-A24C-26FD0765087E}"/>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2" name="R242 G242 B242…">
              <a:extLst>
                <a:ext uri="{FF2B5EF4-FFF2-40B4-BE49-F238E27FC236}">
                  <a16:creationId xmlns:a16="http://schemas.microsoft.com/office/drawing/2014/main" id="{E0625094-1C8F-EF49-8192-8620088F4330}"/>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3" name="R230 G230 B230…">
              <a:extLst>
                <a:ext uri="{FF2B5EF4-FFF2-40B4-BE49-F238E27FC236}">
                  <a16:creationId xmlns:a16="http://schemas.microsoft.com/office/drawing/2014/main" id="{F82EB461-03B4-394E-80AB-C91B99420037}"/>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4" name="R210 G210 B210…">
              <a:extLst>
                <a:ext uri="{FF2B5EF4-FFF2-40B4-BE49-F238E27FC236}">
                  <a16:creationId xmlns:a16="http://schemas.microsoft.com/office/drawing/2014/main" id="{9470BBE0-8B89-494A-B521-368BA969C1D5}"/>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35" name="R115 G115 B115…">
              <a:extLst>
                <a:ext uri="{FF2B5EF4-FFF2-40B4-BE49-F238E27FC236}">
                  <a16:creationId xmlns:a16="http://schemas.microsoft.com/office/drawing/2014/main" id="{3FCFD05B-8721-764B-A618-EC896F80ECAF}"/>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36" name="R80 G80 B80…">
              <a:extLst>
                <a:ext uri="{FF2B5EF4-FFF2-40B4-BE49-F238E27FC236}">
                  <a16:creationId xmlns:a16="http://schemas.microsoft.com/office/drawing/2014/main" id="{F4833C41-1B8D-9C49-B5DE-4CC8E79A4971}"/>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37" name="R47 G47 B47…">
              <a:extLst>
                <a:ext uri="{FF2B5EF4-FFF2-40B4-BE49-F238E27FC236}">
                  <a16:creationId xmlns:a16="http://schemas.microsoft.com/office/drawing/2014/main" id="{0FBE3A4F-20F7-4049-9215-EB2EC0E60963}"/>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38" name="R0 G0 B0…">
              <a:extLst>
                <a:ext uri="{FF2B5EF4-FFF2-40B4-BE49-F238E27FC236}">
                  <a16:creationId xmlns:a16="http://schemas.microsoft.com/office/drawing/2014/main" id="{2ADE1AE9-0BC1-DF42-A655-C6E581B865C3}"/>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39" name="Primary">
              <a:extLst>
                <a:ext uri="{FF2B5EF4-FFF2-40B4-BE49-F238E27FC236}">
                  <a16:creationId xmlns:a16="http://schemas.microsoft.com/office/drawing/2014/main" id="{C972B520-2845-D648-A744-0A5E6D2E0368}"/>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0" name="Secondary">
              <a:extLst>
                <a:ext uri="{FF2B5EF4-FFF2-40B4-BE49-F238E27FC236}">
                  <a16:creationId xmlns:a16="http://schemas.microsoft.com/office/drawing/2014/main" id="{AADE4F1F-3EDA-8E46-BB16-FAD3534012B4}"/>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1" name="Primary">
              <a:extLst>
                <a:ext uri="{FF2B5EF4-FFF2-40B4-BE49-F238E27FC236}">
                  <a16:creationId xmlns:a16="http://schemas.microsoft.com/office/drawing/2014/main" id="{B1888F3B-F42D-044A-BC01-C22A9CBBC329}"/>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2" name="Secondary">
              <a:extLst>
                <a:ext uri="{FF2B5EF4-FFF2-40B4-BE49-F238E27FC236}">
                  <a16:creationId xmlns:a16="http://schemas.microsoft.com/office/drawing/2014/main" id="{A484FC6A-40AE-C34E-9C4A-852A57731C21}"/>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Tree>
    <p:extLst>
      <p:ext uri="{BB962C8B-B14F-4D97-AF65-F5344CB8AC3E}">
        <p14:creationId xmlns:p14="http://schemas.microsoft.com/office/powerpoint/2010/main" val="2401024474"/>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ex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574245" y="2019300"/>
            <a:ext cx="11038167" cy="3381756"/>
          </a:xfrm>
          <a:prstGeom prst="rect">
            <a:avLst/>
          </a:prstGeom>
        </p:spPr>
        <p:txBody>
          <a:bodyPr/>
          <a:lstStyle>
            <a:lvl1pPr marL="0" marR="0" indent="0" algn="l" defTabSz="457109" rtl="0" eaLnBrk="1" fontAlgn="auto" latinLnBrk="0" hangingPunct="1">
              <a:lnSpc>
                <a:spcPct val="100000"/>
              </a:lnSpc>
              <a:spcBef>
                <a:spcPts val="0"/>
              </a:spcBef>
              <a:spcAft>
                <a:spcPts val="0"/>
              </a:spcAft>
              <a:buClrTx/>
              <a:buSzTx/>
              <a:buFont typeface="Arial" panose="020B0604020202020204" pitchFamily="34" charset="0"/>
              <a:buNone/>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ody copy,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Basic text</a:t>
            </a:r>
          </a:p>
        </p:txBody>
      </p:sp>
    </p:spTree>
    <p:extLst>
      <p:ext uri="{BB962C8B-B14F-4D97-AF65-F5344CB8AC3E}">
        <p14:creationId xmlns:p14="http://schemas.microsoft.com/office/powerpoint/2010/main" val="2039125822"/>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ntent Blank">
    <p:bg>
      <p:bgPr>
        <a:solidFill>
          <a:srgbClr val="F2F2F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574245" y="2019300"/>
            <a:ext cx="11038167" cy="3381756"/>
          </a:xfrm>
          <a:prstGeom prst="rect">
            <a:avLst/>
          </a:prstGeom>
        </p:spPr>
        <p:txBody>
          <a:bodyPr/>
          <a:lstStyle>
            <a:lvl1pPr marL="0" marR="0" indent="0" algn="l" defTabSz="457109" rtl="0" eaLnBrk="1" fontAlgn="auto" latinLnBrk="0" hangingPunct="1">
              <a:lnSpc>
                <a:spcPct val="100000"/>
              </a:lnSpc>
              <a:spcBef>
                <a:spcPts val="0"/>
              </a:spcBef>
              <a:spcAft>
                <a:spcPts val="0"/>
              </a:spcAft>
              <a:buClrTx/>
              <a:buSzTx/>
              <a:buFont typeface="Arial" panose="020B0604020202020204" pitchFamily="34" charset="0"/>
              <a:buNone/>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ody copy,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Basic text (no background)</a:t>
            </a:r>
          </a:p>
        </p:txBody>
      </p:sp>
    </p:spTree>
    <p:extLst>
      <p:ext uri="{BB962C8B-B14F-4D97-AF65-F5344CB8AC3E}">
        <p14:creationId xmlns:p14="http://schemas.microsoft.com/office/powerpoint/2010/main" val="133731934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Lis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a:t>
            </a:r>
          </a:p>
        </p:txBody>
      </p:sp>
      <p:sp>
        <p:nvSpPr>
          <p:cNvPr id="50" name="Text Placeholder 6">
            <a:extLst>
              <a:ext uri="{FF2B5EF4-FFF2-40B4-BE49-F238E27FC236}">
                <a16:creationId xmlns:a16="http://schemas.microsoft.com/office/drawing/2014/main" id="{F02C43B8-DD0F-C048-9F6E-784256D487F9}"/>
              </a:ext>
            </a:extLst>
          </p:cNvPr>
          <p:cNvSpPr>
            <a:spLocks noGrp="1"/>
          </p:cNvSpPr>
          <p:nvPr>
            <p:ph type="body" sz="quarter" idx="10" hasCustomPrompt="1"/>
          </p:nvPr>
        </p:nvSpPr>
        <p:spPr>
          <a:xfrm>
            <a:off x="574245" y="2019300"/>
            <a:ext cx="11038167"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ulleted list, 20-24pt</a:t>
            </a:r>
          </a:p>
          <a:p>
            <a:pPr lvl="0"/>
            <a:r>
              <a:rPr lang="en-US"/>
              <a:t>Bulleted list, 20-24pt</a:t>
            </a:r>
          </a:p>
          <a:p>
            <a:pPr lvl="0"/>
            <a:r>
              <a:rPr lang="en-US"/>
              <a:t>Bulleted list, 20-24pt</a:t>
            </a:r>
          </a:p>
          <a:p>
            <a:pPr lvl="0"/>
            <a:endParaRPr lang="en-US"/>
          </a:p>
        </p:txBody>
      </p:sp>
    </p:spTree>
    <p:extLst>
      <p:ext uri="{BB962C8B-B14F-4D97-AF65-F5344CB8AC3E}">
        <p14:creationId xmlns:p14="http://schemas.microsoft.com/office/powerpoint/2010/main" val="48564937"/>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Comparison</a:t>
            </a:r>
          </a:p>
        </p:txBody>
      </p:sp>
      <p:sp>
        <p:nvSpPr>
          <p:cNvPr id="56" name="Text Placeholder 6">
            <a:extLst>
              <a:ext uri="{FF2B5EF4-FFF2-40B4-BE49-F238E27FC236}">
                <a16:creationId xmlns:a16="http://schemas.microsoft.com/office/drawing/2014/main" id="{B9BA9784-2126-1848-8E03-4E7CF943C78F}"/>
              </a:ext>
            </a:extLst>
          </p:cNvPr>
          <p:cNvSpPr>
            <a:spLocks noGrp="1"/>
          </p:cNvSpPr>
          <p:nvPr>
            <p:ph type="body" sz="quarter" idx="11" hasCustomPrompt="1"/>
          </p:nvPr>
        </p:nvSpPr>
        <p:spPr>
          <a:xfrm>
            <a:off x="594852" y="1929473"/>
            <a:ext cx="4884537" cy="424261"/>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800" b="0" spc="0" baseline="0">
                <a:solidFill>
                  <a:srgbClr val="0478D4"/>
                </a:solidFill>
                <a:latin typeface="+mn-lt"/>
                <a:cs typeface="Segoe UI" panose="020B0502040204020203" pitchFamily="34" charset="0"/>
              </a:defRPr>
            </a:lvl1pPr>
          </a:lstStyle>
          <a:p>
            <a:r>
              <a:rPr lang="en-US" b="1">
                <a:solidFill>
                  <a:srgbClr val="0478D4"/>
                </a:solidFill>
              </a:rPr>
              <a:t>Title 1</a:t>
            </a:r>
          </a:p>
        </p:txBody>
      </p:sp>
      <p:sp>
        <p:nvSpPr>
          <p:cNvPr id="57" name="Text Placeholder 6">
            <a:extLst>
              <a:ext uri="{FF2B5EF4-FFF2-40B4-BE49-F238E27FC236}">
                <a16:creationId xmlns:a16="http://schemas.microsoft.com/office/drawing/2014/main" id="{329F1A02-E026-D042-A41E-F73797D633C7}"/>
              </a:ext>
            </a:extLst>
          </p:cNvPr>
          <p:cNvSpPr>
            <a:spLocks noGrp="1"/>
          </p:cNvSpPr>
          <p:nvPr>
            <p:ph type="body" sz="quarter" idx="10" hasCustomPrompt="1"/>
          </p:nvPr>
        </p:nvSpPr>
        <p:spPr>
          <a:xfrm>
            <a:off x="599622" y="2602607"/>
            <a:ext cx="4879768"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sp>
        <p:nvSpPr>
          <p:cNvPr id="58" name="Text Placeholder 6">
            <a:extLst>
              <a:ext uri="{FF2B5EF4-FFF2-40B4-BE49-F238E27FC236}">
                <a16:creationId xmlns:a16="http://schemas.microsoft.com/office/drawing/2014/main" id="{34192514-DB65-A841-ACF2-B1B1EF984D6E}"/>
              </a:ext>
            </a:extLst>
          </p:cNvPr>
          <p:cNvSpPr>
            <a:spLocks noGrp="1"/>
          </p:cNvSpPr>
          <p:nvPr>
            <p:ph type="body" sz="quarter" idx="12" hasCustomPrompt="1"/>
          </p:nvPr>
        </p:nvSpPr>
        <p:spPr>
          <a:xfrm>
            <a:off x="6626162" y="1929473"/>
            <a:ext cx="4884537" cy="424261"/>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800" b="0" spc="0" baseline="0">
                <a:solidFill>
                  <a:srgbClr val="0478D4"/>
                </a:solidFill>
                <a:latin typeface="+mn-lt"/>
                <a:cs typeface="Segoe UI" panose="020B0502040204020203" pitchFamily="34" charset="0"/>
              </a:defRPr>
            </a:lvl1pPr>
          </a:lstStyle>
          <a:p>
            <a:r>
              <a:rPr lang="en-US" b="1">
                <a:solidFill>
                  <a:srgbClr val="0478D4"/>
                </a:solidFill>
              </a:rPr>
              <a:t>Title 2</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6630931" y="2602607"/>
            <a:ext cx="4879768"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cxnSp>
        <p:nvCxnSpPr>
          <p:cNvPr id="19" name="Straight Connector 18">
            <a:extLst>
              <a:ext uri="{FF2B5EF4-FFF2-40B4-BE49-F238E27FC236}">
                <a16:creationId xmlns:a16="http://schemas.microsoft.com/office/drawing/2014/main" id="{B3F672C9-0DB5-2942-B42D-AA5E1193F82E}"/>
              </a:ext>
            </a:extLst>
          </p:cNvPr>
          <p:cNvCxnSpPr/>
          <p:nvPr userDrawn="1"/>
        </p:nvCxnSpPr>
        <p:spPr>
          <a:xfrm>
            <a:off x="5742450" y="1929473"/>
            <a:ext cx="0" cy="4016807"/>
          </a:xfrm>
          <a:prstGeom prst="line">
            <a:avLst/>
          </a:prstGeom>
          <a:noFill/>
          <a:ln w="12700" cap="flat">
            <a:solidFill>
              <a:srgbClr val="0478D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05405400"/>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Image Left, List Righ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Image on the left, list on the right, 28pt </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4466995" y="1929472"/>
            <a:ext cx="7145414" cy="3867478"/>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3200" spc="0" baseline="0">
                <a:solidFill>
                  <a:srgbClr val="2F2F2F"/>
                </a:solidFill>
                <a:latin typeface="Segoe UI" panose="020B0502040204020203" pitchFamily="34" charset="0"/>
                <a:cs typeface="Segoe UI" panose="020B0502040204020203" pitchFamily="34" charset="0"/>
              </a:defRPr>
            </a:lvl1pPr>
          </a:lstStyle>
          <a:p>
            <a:pPr lvl="0"/>
            <a:r>
              <a:rPr lang="en-US"/>
              <a:t>Detail, 32pt</a:t>
            </a:r>
          </a:p>
          <a:p>
            <a:pPr lvl="0"/>
            <a:r>
              <a:rPr lang="en-US"/>
              <a:t>Detail, 32pt</a:t>
            </a:r>
          </a:p>
          <a:p>
            <a:pPr lvl="0"/>
            <a:r>
              <a:rPr lang="en-US"/>
              <a:t>Detail, 32pt</a:t>
            </a:r>
          </a:p>
        </p:txBody>
      </p:sp>
      <p:sp>
        <p:nvSpPr>
          <p:cNvPr id="52" name="Picture Placeholder 2" descr="Add alt text to all images">
            <a:extLst>
              <a:ext uri="{FF2B5EF4-FFF2-40B4-BE49-F238E27FC236}">
                <a16:creationId xmlns:a16="http://schemas.microsoft.com/office/drawing/2014/main" id="{4C137356-5022-5D4A-9491-CF4D7809CE3D}"/>
              </a:ext>
            </a:extLst>
          </p:cNvPr>
          <p:cNvSpPr>
            <a:spLocks noGrp="1"/>
          </p:cNvSpPr>
          <p:nvPr>
            <p:ph type="pic" sz="quarter" idx="14" hasCustomPrompt="1"/>
          </p:nvPr>
        </p:nvSpPr>
        <p:spPr>
          <a:xfrm>
            <a:off x="588415" y="1904327"/>
            <a:ext cx="3070138" cy="3926816"/>
          </a:xfrm>
          <a:prstGeom prst="rect">
            <a:avLst/>
          </a:prstGeom>
        </p:spPr>
        <p:txBody>
          <a:bodyPr/>
          <a:lstStyle>
            <a:lvl1pPr algn="ctr">
              <a:buNone/>
              <a:defRPr sz="3200" spc="0">
                <a:solidFill>
                  <a:schemeClr val="bg2"/>
                </a:solidFill>
              </a:defRPr>
            </a:lvl1pPr>
          </a:lstStyle>
          <a:p>
            <a:r>
              <a:rPr lang="en-US"/>
              <a:t>Add picture</a:t>
            </a:r>
          </a:p>
        </p:txBody>
      </p:sp>
    </p:spTree>
    <p:extLst>
      <p:ext uri="{BB962C8B-B14F-4D97-AF65-F5344CB8AC3E}">
        <p14:creationId xmlns:p14="http://schemas.microsoft.com/office/powerpoint/2010/main" val="3917034993"/>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ist Left, Image Righ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 on the left, image on the right</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588415" y="1929472"/>
            <a:ext cx="6755589" cy="3867478"/>
          </a:xfrm>
          <a:prstGeom prst="rect">
            <a:avLst/>
          </a:prstGeom>
        </p:spPr>
        <p:txBody>
          <a:bodyPr/>
          <a:lstStyle>
            <a:lvl1pPr marL="342900" marR="0" indent="-342900" algn="r" defTabSz="457109" rtl="0" eaLnBrk="1" fontAlgn="auto" latinLnBrk="0" hangingPunct="1">
              <a:lnSpc>
                <a:spcPct val="100000"/>
              </a:lnSpc>
              <a:spcBef>
                <a:spcPts val="600"/>
              </a:spcBef>
              <a:spcAft>
                <a:spcPts val="600"/>
              </a:spcAft>
              <a:buClrTx/>
              <a:buSzTx/>
              <a:buFont typeface="Arial" panose="020B0604020202020204" pitchFamily="34" charset="0"/>
              <a:buNone/>
              <a:tabLst/>
              <a:defRPr sz="3200" spc="0" baseline="0">
                <a:solidFill>
                  <a:srgbClr val="2F2F2F"/>
                </a:solidFill>
                <a:latin typeface="Segoe UI" panose="020B0502040204020203" pitchFamily="34" charset="0"/>
                <a:cs typeface="Segoe UI" panose="020B0502040204020203" pitchFamily="34" charset="0"/>
              </a:defRPr>
            </a:lvl1pPr>
          </a:lstStyle>
          <a:p>
            <a:pPr lvl="0"/>
            <a:r>
              <a:rPr lang="en-US"/>
              <a:t>Detail, 32pt</a:t>
            </a:r>
          </a:p>
          <a:p>
            <a:pPr lvl="0"/>
            <a:r>
              <a:rPr lang="en-US"/>
              <a:t>Detail, 32pt</a:t>
            </a:r>
          </a:p>
          <a:p>
            <a:pPr lvl="0"/>
            <a:r>
              <a:rPr lang="en-US"/>
              <a:t>Detail, 32pt</a:t>
            </a:r>
          </a:p>
        </p:txBody>
      </p:sp>
      <p:sp>
        <p:nvSpPr>
          <p:cNvPr id="3" name="Picture Placeholder 2">
            <a:extLst>
              <a:ext uri="{FF2B5EF4-FFF2-40B4-BE49-F238E27FC236}">
                <a16:creationId xmlns:a16="http://schemas.microsoft.com/office/drawing/2014/main" id="{90521DD1-C3DF-A749-8763-9CC63EFC5880}"/>
              </a:ext>
            </a:extLst>
          </p:cNvPr>
          <p:cNvSpPr>
            <a:spLocks noGrp="1"/>
          </p:cNvSpPr>
          <p:nvPr>
            <p:ph type="pic" sz="quarter" idx="14" hasCustomPrompt="1"/>
          </p:nvPr>
        </p:nvSpPr>
        <p:spPr>
          <a:xfrm>
            <a:off x="8506680" y="1904327"/>
            <a:ext cx="3070138" cy="3926816"/>
          </a:xfrm>
          <a:prstGeom prst="rect">
            <a:avLst/>
          </a:prstGeom>
        </p:spPr>
        <p:txBody>
          <a:bodyPr/>
          <a:lstStyle>
            <a:lvl1pPr algn="ctr">
              <a:buNone/>
              <a:defRPr sz="3200" spc="0">
                <a:solidFill>
                  <a:schemeClr val="bg2"/>
                </a:solidFill>
              </a:defRPr>
            </a:lvl1pPr>
          </a:lstStyle>
          <a:p>
            <a:r>
              <a:rPr lang="en-US"/>
              <a:t>Add picture</a:t>
            </a:r>
          </a:p>
        </p:txBody>
      </p:sp>
    </p:spTree>
    <p:extLst>
      <p:ext uri="{BB962C8B-B14F-4D97-AF65-F5344CB8AC3E}">
        <p14:creationId xmlns:p14="http://schemas.microsoft.com/office/powerpoint/2010/main" val="131731106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6B71AC10-0A8D-FD4F-9144-4780889F385A}"/>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47B816A4-8209-2048-B6D0-289DEAEF5D18}"/>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28268" y="2370357"/>
            <a:ext cx="6748141" cy="2227148"/>
            <a:chOff x="8206313" y="6182284"/>
            <a:chExt cx="12824005" cy="4231313"/>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479813" y="6182284"/>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06313" y="6837392"/>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479815" y="7633849"/>
              <a:ext cx="10905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06315" y="8332856"/>
              <a:ext cx="1407394"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ext Placeholder 9">
            <a:extLst>
              <a:ext uri="{FF2B5EF4-FFF2-40B4-BE49-F238E27FC236}">
                <a16:creationId xmlns:a16="http://schemas.microsoft.com/office/drawing/2014/main" id="{D84AE76E-0F8E-4E4F-AA81-912BDA9A432D}"/>
              </a:ext>
            </a:extLst>
          </p:cNvPr>
          <p:cNvSpPr>
            <a:spLocks noGrp="1"/>
          </p:cNvSpPr>
          <p:nvPr>
            <p:ph type="body" sz="quarter" idx="10" hasCustomPrompt="1"/>
          </p:nvPr>
        </p:nvSpPr>
        <p:spPr>
          <a:xfrm>
            <a:off x="584351" y="2644422"/>
            <a:ext cx="7207011" cy="1710033"/>
          </a:xfrm>
          <a:prstGeom prst="rect">
            <a:avLst/>
          </a:prstGeom>
        </p:spPr>
        <p:txBody>
          <a:bodyPr lIns="0" tIns="0" rIns="0" bIns="0">
            <a:normAutofit/>
          </a:bodyPr>
          <a:lstStyle>
            <a:lvl1pPr marL="0" indent="0">
              <a:lnSpc>
                <a:spcPct val="100000"/>
              </a:lnSpc>
              <a:spcAft>
                <a:spcPts val="600"/>
              </a:spcAft>
              <a:buNone/>
              <a:defRPr sz="2000" b="0" i="0" spc="0" baseline="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50" name="Subtitle 2">
            <a:extLst>
              <a:ext uri="{FF2B5EF4-FFF2-40B4-BE49-F238E27FC236}">
                <a16:creationId xmlns:a16="http://schemas.microsoft.com/office/drawing/2014/main" id="{A018086F-C34A-3C41-8B4C-2D6A83134E1B}"/>
              </a:ext>
            </a:extLst>
          </p:cNvPr>
          <p:cNvSpPr>
            <a:spLocks noGrp="1"/>
          </p:cNvSpPr>
          <p:nvPr>
            <p:ph type="subTitle" idx="1" hasCustomPrompt="1"/>
          </p:nvPr>
        </p:nvSpPr>
        <p:spPr>
          <a:xfrm>
            <a:off x="584353" y="533243"/>
            <a:ext cx="5511647" cy="276999"/>
          </a:xfrm>
          <a:prstGeom prst="rect">
            <a:avLst/>
          </a:prstGeom>
        </p:spPr>
        <p:txBody>
          <a:bodyPr lIns="0" tIns="0" rIns="0" bIns="0">
            <a:spAutoFit/>
          </a:bodyPr>
          <a:lstStyle>
            <a:lvl1pPr marL="0" indent="0" algn="l">
              <a:lnSpc>
                <a:spcPct val="100000"/>
              </a:lnSpc>
              <a:spcBef>
                <a:spcPts val="0"/>
              </a:spcBef>
              <a:buNone/>
              <a:defRPr sz="18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Category, 18pt</a:t>
            </a:r>
          </a:p>
        </p:txBody>
      </p:sp>
      <p:sp>
        <p:nvSpPr>
          <p:cNvPr id="51" name="Title 1">
            <a:extLst>
              <a:ext uri="{FF2B5EF4-FFF2-40B4-BE49-F238E27FC236}">
                <a16:creationId xmlns:a16="http://schemas.microsoft.com/office/drawing/2014/main" id="{D66AECF4-4A52-E344-9154-5AF177201204}"/>
              </a:ext>
            </a:extLst>
          </p:cNvPr>
          <p:cNvSpPr>
            <a:spLocks noGrp="1"/>
          </p:cNvSpPr>
          <p:nvPr>
            <p:ph type="title" hasCustomPrompt="1"/>
          </p:nvPr>
        </p:nvSpPr>
        <p:spPr>
          <a:xfrm>
            <a:off x="588416" y="1629321"/>
            <a:ext cx="5507584" cy="553998"/>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Section title, 36pt</a:t>
            </a:r>
          </a:p>
        </p:txBody>
      </p:sp>
    </p:spTree>
    <p:extLst>
      <p:ext uri="{BB962C8B-B14F-4D97-AF65-F5344CB8AC3E}">
        <p14:creationId xmlns:p14="http://schemas.microsoft.com/office/powerpoint/2010/main" val="1156700770"/>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101638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5736669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782563283"/>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13449527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3072545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352694552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43861541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38569004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1814560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0858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08004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908844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39809313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9858808" cy="1794661"/>
          </a:xfrm>
          <a:noFill/>
        </p:spPr>
        <p:txBody>
          <a:bodyPr lIns="146304" tIns="109728" rIns="146304" bIns="109728">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513" spc="-92" baseline="0">
                <a:gradFill>
                  <a:gsLst>
                    <a:gs pos="3333">
                      <a:schemeClr val="tx1"/>
                    </a:gs>
                    <a:gs pos="39000">
                      <a:schemeClr val="tx1"/>
                    </a:gs>
                  </a:gsLst>
                  <a:lin ang="5400000" scaled="0"/>
                </a:gradFill>
              </a:defRPr>
            </a:lvl1pPr>
          </a:lstStyle>
          <a:p>
            <a:r>
              <a:rPr lang="en-US"/>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07201" y="470411"/>
            <a:ext cx="1522404" cy="326167"/>
          </a:xfrm>
          <a:prstGeom prst="rect">
            <a:avLst/>
          </a:prstGeom>
        </p:spPr>
      </p:pic>
      <p:sp>
        <p:nvSpPr>
          <p:cNvPr id="7"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6" name="Text Placeholder 5"/>
          <p:cNvSpPr>
            <a:spLocks noGrp="1"/>
          </p:cNvSpPr>
          <p:nvPr>
            <p:ph type="body" sz="quarter" idx="13" hasCustomPrompt="1"/>
          </p:nvPr>
        </p:nvSpPr>
        <p:spPr>
          <a:xfrm>
            <a:off x="269239" y="470413"/>
            <a:ext cx="3047874" cy="439223"/>
          </a:xfrm>
        </p:spPr>
        <p:txBody>
          <a:bodyPr/>
          <a:lstStyle>
            <a:lvl1pPr marL="0" indent="0">
              <a:buNone/>
              <a:defRPr sz="1838"/>
            </a:lvl1pPr>
          </a:lstStyle>
          <a:p>
            <a:pPr lvl="0"/>
            <a:r>
              <a:rPr lang="en-US"/>
              <a:t>Session Code Here</a:t>
            </a:r>
          </a:p>
        </p:txBody>
      </p:sp>
    </p:spTree>
    <p:extLst>
      <p:ext uri="{BB962C8B-B14F-4D97-AF65-F5344CB8AC3E}">
        <p14:creationId xmlns:p14="http://schemas.microsoft.com/office/powerpoint/2010/main" val="3436838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350">
          <p15:clr>
            <a:srgbClr val="FBAE40"/>
          </p15:clr>
        </p15:guide>
        <p15:guide id="2" pos="3917">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21012" y="6057329"/>
            <a:ext cx="1522404" cy="326167"/>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177221" y="1728540"/>
            <a:ext cx="7178269" cy="3156826"/>
          </a:xfrm>
          <a:prstGeom prst="rect">
            <a:avLst/>
          </a:prstGeom>
        </p:spPr>
      </p:pic>
    </p:spTree>
    <p:extLst>
      <p:ext uri="{BB962C8B-B14F-4D97-AF65-F5344CB8AC3E}">
        <p14:creationId xmlns:p14="http://schemas.microsoft.com/office/powerpoint/2010/main" val="190233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6"/>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47221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Video titl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739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7209877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0906536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1902223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2"/>
                    </a:gs>
                    <a:gs pos="99000">
                      <a:schemeClr val="tx2"/>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9058688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1"/>
                    </a:gs>
                    <a:gs pos="99000">
                      <a:schemeClr val="tx1"/>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0759051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32504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4247291933"/>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2356529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521717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2611582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3861082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8981441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335563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80334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t="-2262"/>
          <a:stretch/>
        </p:blipFill>
        <p:spPr>
          <a:xfrm>
            <a:off x="313" y="-312"/>
            <a:ext cx="12191377"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16673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298139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78065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7107484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59116010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6036282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58" tIns="42858" rIns="42858" bIns="42858" numCol="1" spcCol="0" rtlCol="0" fromWordArt="0" anchor="ctr" anchorCtr="0" forceAA="0" compatLnSpc="1">
            <a:prstTxWarp prst="textNoShape">
              <a:avLst/>
            </a:prstTxWarp>
            <a:noAutofit/>
          </a:bodyPr>
          <a:lstStyle/>
          <a:p>
            <a:pPr algn="ctr" defTabSz="856807" fontAlgn="base">
              <a:spcBef>
                <a:spcPct val="0"/>
              </a:spcBef>
              <a:spcAft>
                <a:spcPct val="0"/>
              </a:spcAft>
              <a:defRPr/>
            </a:pPr>
            <a:endParaRPr lang="en-US" sz="165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37823"/>
          </a:xfrm>
        </p:spPr>
        <p:txBody>
          <a:bodyPr/>
          <a:lstStyle>
            <a:lvl1pPr marL="0" indent="0">
              <a:buNone/>
              <a:defRPr sz="3032">
                <a:gradFill>
                  <a:gsLst>
                    <a:gs pos="1250">
                      <a:srgbClr val="000000"/>
                    </a:gs>
                    <a:gs pos="100000">
                      <a:srgbClr val="000000"/>
                    </a:gs>
                  </a:gsLst>
                  <a:lin ang="5400000" scaled="0"/>
                </a:gradFill>
                <a:latin typeface="Segoe UI" pitchFamily="34" charset="0"/>
                <a:cs typeface="Segoe UI" pitchFamily="34" charset="0"/>
              </a:defRPr>
            </a:lvl1pPr>
            <a:lvl2pPr marL="318432" indent="0">
              <a:buNone/>
              <a:defRPr>
                <a:gradFill>
                  <a:gsLst>
                    <a:gs pos="1250">
                      <a:srgbClr val="000000"/>
                    </a:gs>
                    <a:gs pos="100000">
                      <a:srgbClr val="000000"/>
                    </a:gs>
                  </a:gsLst>
                  <a:lin ang="5400000" scaled="0"/>
                </a:gradFill>
                <a:latin typeface="Segoe UI" pitchFamily="34" charset="0"/>
                <a:cs typeface="Segoe UI" pitchFamily="34" charset="0"/>
              </a:defRPr>
            </a:lvl2pPr>
            <a:lvl3pPr marL="537169" indent="0">
              <a:buNone/>
              <a:defRPr>
                <a:gradFill>
                  <a:gsLst>
                    <a:gs pos="1250">
                      <a:srgbClr val="000000"/>
                    </a:gs>
                    <a:gs pos="100000">
                      <a:srgbClr val="000000"/>
                    </a:gs>
                  </a:gsLst>
                  <a:lin ang="5400000" scaled="0"/>
                </a:gradFill>
                <a:latin typeface="Segoe UI" pitchFamily="34" charset="0"/>
                <a:cs typeface="Segoe UI" pitchFamily="34" charset="0"/>
              </a:defRPr>
            </a:lvl3pPr>
            <a:lvl4pPr marL="748465" indent="0">
              <a:buNone/>
              <a:defRPr>
                <a:gradFill>
                  <a:gsLst>
                    <a:gs pos="1250">
                      <a:srgbClr val="000000"/>
                    </a:gs>
                    <a:gs pos="100000">
                      <a:srgbClr val="000000"/>
                    </a:gs>
                  </a:gsLst>
                  <a:lin ang="5400000" scaled="0"/>
                </a:gradFill>
                <a:latin typeface="Segoe UI" pitchFamily="34" charset="0"/>
                <a:cs typeface="Segoe UI" pitchFamily="34" charset="0"/>
              </a:defRPr>
            </a:lvl4pPr>
            <a:lvl5pPr marL="96571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247268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249354"/>
          </a:xfrm>
          <a:prstGeom prst="rect">
            <a:avLst/>
          </a:prstGeom>
        </p:spPr>
        <p:txBody>
          <a:bodyPr/>
          <a:lstStyle>
            <a:lvl1pPr marL="266940" indent="-266940">
              <a:buClr>
                <a:schemeClr val="tx1"/>
              </a:buClr>
              <a:buSzPct val="90000"/>
              <a:buFont typeface="Arial" pitchFamily="34" charset="0"/>
              <a:buChar char="•"/>
              <a:defRPr sz="330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5125" indent="-258187">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2065" indent="-266940">
              <a:buClr>
                <a:schemeClr val="tx1"/>
              </a:buClr>
              <a:buSzPct val="90000"/>
              <a:buFont typeface="Arial" pitchFamily="34" charset="0"/>
              <a:buChar char="•"/>
              <a:defRPr sz="257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02116" indent="-210051">
              <a:buClr>
                <a:schemeClr val="tx1"/>
              </a:buClr>
              <a:buSzPct val="90000"/>
              <a:buFont typeface="Arial" pitchFamily="34" charset="0"/>
              <a:buChar char="•"/>
              <a:defRPr sz="2206">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12165" indent="-210051">
              <a:buClr>
                <a:schemeClr val="tx1"/>
              </a:buClr>
              <a:buSzPct val="90000"/>
              <a:buFont typeface="Arial" pitchFamily="34" charset="0"/>
              <a:buChar char="•"/>
              <a:defRPr sz="183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00"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74811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622"/>
            </a:lvl1pPr>
          </a:lstStyle>
          <a:p>
            <a:r>
              <a:rPr lang="en-US"/>
              <a:t>Click to edit Master title style</a:t>
            </a:r>
          </a:p>
        </p:txBody>
      </p:sp>
      <p:sp>
        <p:nvSpPr>
          <p:cNvPr id="3" name="Subtitle 2"/>
          <p:cNvSpPr>
            <a:spLocks noGrp="1"/>
          </p:cNvSpPr>
          <p:nvPr>
            <p:ph type="subTitle" idx="1"/>
          </p:nvPr>
        </p:nvSpPr>
        <p:spPr>
          <a:xfrm>
            <a:off x="1524000" y="3602039"/>
            <a:ext cx="9144000" cy="496290"/>
          </a:xfrm>
        </p:spPr>
        <p:txBody>
          <a:bodyPr/>
          <a:lstStyle>
            <a:lvl1pPr marL="0" indent="0" algn="ctr">
              <a:buNone/>
              <a:defRPr sz="2250"/>
            </a:lvl1pPr>
            <a:lvl2pPr marL="428461" indent="0" algn="ctr">
              <a:buNone/>
              <a:defRPr sz="1874"/>
            </a:lvl2pPr>
            <a:lvl3pPr marL="856921" indent="0" algn="ctr">
              <a:buNone/>
              <a:defRPr sz="1688"/>
            </a:lvl3pPr>
            <a:lvl4pPr marL="1285381" indent="0" algn="ctr">
              <a:buNone/>
              <a:defRPr sz="1500"/>
            </a:lvl4pPr>
            <a:lvl5pPr marL="1713842" indent="0" algn="ctr">
              <a:buNone/>
              <a:defRPr sz="1500"/>
            </a:lvl5pPr>
            <a:lvl6pPr marL="2142302" indent="0" algn="ctr">
              <a:buNone/>
              <a:defRPr sz="1500"/>
            </a:lvl6pPr>
            <a:lvl7pPr marL="2570763" indent="0" algn="ctr">
              <a:buNone/>
              <a:defRPr sz="1500"/>
            </a:lvl7pPr>
            <a:lvl8pPr marL="2999222" indent="0" algn="ctr">
              <a:buNone/>
              <a:defRPr sz="1500"/>
            </a:lvl8pPr>
            <a:lvl9pPr marL="3427683" indent="0" algn="ctr">
              <a:buNone/>
              <a:defRPr sz="1500"/>
            </a:lvl9pPr>
          </a:lstStyle>
          <a:p>
            <a:r>
              <a:rPr lang="en-US"/>
              <a:t>Click to edit Master subtitle style</a:t>
            </a:r>
          </a:p>
        </p:txBody>
      </p:sp>
      <p:sp>
        <p:nvSpPr>
          <p:cNvPr id="4" name="Date Placeholder 3"/>
          <p:cNvSpPr>
            <a:spLocks noGrp="1"/>
          </p:cNvSpPr>
          <p:nvPr>
            <p:ph type="dt" sz="half" idx="10"/>
          </p:nvPr>
        </p:nvSpPr>
        <p:spPr>
          <a:xfrm>
            <a:off x="838202" y="6356353"/>
            <a:ext cx="2743200" cy="365125"/>
          </a:xfrm>
          <a:prstGeom prst="rect">
            <a:avLst/>
          </a:prstGeom>
        </p:spPr>
        <p:txBody>
          <a:bodyPr/>
          <a:lstStyle/>
          <a:p>
            <a:pPr defTabSz="857055"/>
            <a:fld id="{FF10745D-BFEF-4546-BEC9-7742E95A3706}" type="datetimeFigureOut">
              <a:rPr lang="en-US" sz="1655" smtClean="0">
                <a:solidFill>
                  <a:srgbClr val="FFFFFF"/>
                </a:solidFill>
              </a:rPr>
              <a:pPr defTabSz="857055"/>
              <a:t>3/29/2021</a:t>
            </a:fld>
            <a:endParaRPr lang="en-US" sz="1655">
              <a:solidFill>
                <a:srgbClr val="FFFFFF"/>
              </a:solidFill>
            </a:endParaRPr>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pPr defTabSz="857055"/>
            <a:endParaRPr lang="en-US" sz="1655">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857055"/>
            <a:fld id="{17D91851-E457-4236-BE61-7DC395D2A288}" type="slidenum">
              <a:rPr lang="en-US" sz="1655" smtClean="0">
                <a:solidFill>
                  <a:srgbClr val="FFFFFF"/>
                </a:solidFill>
              </a:rPr>
              <a:pPr defTabSz="857055"/>
              <a:t>‹#›</a:t>
            </a:fld>
            <a:endParaRPr lang="en-US" sz="1655">
              <a:solidFill>
                <a:srgbClr val="FFFFFF"/>
              </a:solidFill>
            </a:endParaRPr>
          </a:p>
        </p:txBody>
      </p:sp>
    </p:spTree>
    <p:extLst>
      <p:ext uri="{BB962C8B-B14F-4D97-AF65-F5344CB8AC3E}">
        <p14:creationId xmlns:p14="http://schemas.microsoft.com/office/powerpoint/2010/main" val="337371950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1" y="2008785"/>
            <a:ext cx="5157787"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4" name="Content Placeholder 3"/>
          <p:cNvSpPr>
            <a:spLocks noGrp="1"/>
          </p:cNvSpPr>
          <p:nvPr>
            <p:ph sz="half" idx="2"/>
          </p:nvPr>
        </p:nvSpPr>
        <p:spPr>
          <a:xfrm>
            <a:off x="839791" y="2505076"/>
            <a:ext cx="5157787"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2008785"/>
            <a:ext cx="5183188"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72200" y="2505076"/>
            <a:ext cx="5183188"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1" y="6356352"/>
            <a:ext cx="2743200" cy="365125"/>
          </a:xfrm>
          <a:prstGeom prst="rect">
            <a:avLst/>
          </a:prstGeom>
        </p:spPr>
        <p:txBody>
          <a:bodyPr/>
          <a:lstStyle/>
          <a:p>
            <a:fld id="{F5E1262D-0FBC-4B24-BF93-EB17A44FB349}" type="datetimeFigureOut">
              <a:rPr lang="en-US">
                <a:solidFill>
                  <a:srgbClr val="FFFFFF"/>
                </a:solidFill>
              </a:rPr>
              <a:pPr/>
              <a:t>3/29/2021</a:t>
            </a:fld>
            <a:endParaRPr lang="en-US">
              <a:solidFill>
                <a:srgbClr val="FFFFFF"/>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a:solidFill>
                <a:srgbClr val="FFFFFF"/>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EC354C75-676E-4691-9B79-CBB15BB669AF}"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9459483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32739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2"/>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3"/>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l" defTabSz="932304"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4" y="3183754"/>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1" y="1816159"/>
            <a:ext cx="3474481" cy="4149241"/>
          </a:xfrm>
          <a:prstGeom prst="rect">
            <a:avLst/>
          </a:prstGeom>
        </p:spPr>
      </p:pic>
    </p:spTree>
    <p:extLst>
      <p:ext uri="{BB962C8B-B14F-4D97-AF65-F5344CB8AC3E}">
        <p14:creationId xmlns:p14="http://schemas.microsoft.com/office/powerpoint/2010/main" val="296382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1"/>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2"/>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111641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9" indent="0">
              <a:buNone/>
              <a:defRPr/>
            </a:lvl2pPr>
            <a:lvl3pPr marL="457117" indent="0">
              <a:buNone/>
              <a:defRPr/>
            </a:lvl3pPr>
            <a:lvl4pPr marL="685677" indent="0">
              <a:buNone/>
              <a:defRPr/>
            </a:lvl4pPr>
            <a:lvl5pPr marL="914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797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219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382904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3313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10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0728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288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8106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50"/>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9" indent="0">
              <a:buNone/>
              <a:defRPr/>
            </a:lvl2pPr>
            <a:lvl3pPr marL="457117" indent="0">
              <a:buNone/>
              <a:defRPr/>
            </a:lvl3pPr>
            <a:lvl4pPr marL="661869" indent="0">
              <a:buNone/>
              <a:defRPr/>
            </a:lvl4pPr>
            <a:lvl5pPr marL="855510" indent="0">
              <a:buNone/>
              <a:defRPr/>
            </a:lvl5pPr>
          </a:lstStyle>
          <a:p>
            <a:pPr lvl="0"/>
            <a:r>
              <a:rPr lang="en-US"/>
              <a:t>Edit Master text styles</a:t>
            </a:r>
          </a:p>
        </p:txBody>
      </p:sp>
    </p:spTree>
    <p:extLst>
      <p:ext uri="{BB962C8B-B14F-4D97-AF65-F5344CB8AC3E}">
        <p14:creationId xmlns:p14="http://schemas.microsoft.com/office/powerpoint/2010/main" val="4270275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2"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92409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879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9649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165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3637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809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1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0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77376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3"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165350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67123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8071803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0934847"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304"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1231218"/>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3" y="1604088"/>
            <a:ext cx="3780245" cy="246257"/>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151064"/>
            <a:ext cx="3329638" cy="215451"/>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3"/>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p:spPr>
        <p:txBody>
          <a:bodyPr vert="horz" wrap="square" lIns="89629" tIns="44813" rIns="89629" bIns="44813" numCol="1" anchor="t" anchorCtr="0" compatLnSpc="1">
            <a:prstTxWarp prst="textNoShape">
              <a:avLst/>
            </a:prstTxWarp>
          </a:bodyPr>
          <a:lstStyle/>
          <a:p>
            <a:pPr marL="0" marR="0" lvl="0" indent="0" defTabSz="9142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578810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20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9" indent="0">
              <a:spcBef>
                <a:spcPts val="0"/>
              </a:spcBef>
              <a:spcAft>
                <a:spcPts val="1273"/>
              </a:spcAft>
              <a:buNone/>
              <a:defRPr sz="1961"/>
            </a:lvl4pPr>
            <a:lvl5pPr marL="896225"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8" y="6431031"/>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07246453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59385" y="90604"/>
            <a:ext cx="11428379" cy="615609"/>
          </a:xfrm>
          <a:prstGeom prst="rect">
            <a:avLst/>
          </a:prstGeom>
        </p:spPr>
        <p:txBody>
          <a:bodyPr anchor="t"/>
          <a:lstStyle>
            <a:lvl1pPr>
              <a:defRPr sz="4000"/>
            </a:lvl1pPr>
          </a:lstStyle>
          <a:p>
            <a:r>
              <a:rPr lang="en-US"/>
              <a:t>Click to edit Master title style</a:t>
            </a:r>
          </a:p>
        </p:txBody>
      </p:sp>
      <p:sp>
        <p:nvSpPr>
          <p:cNvPr id="4" name="Text Placeholder 2"/>
          <p:cNvSpPr>
            <a:spLocks noGrp="1"/>
          </p:cNvSpPr>
          <p:nvPr>
            <p:ph type="body" sz="quarter" idx="11"/>
          </p:nvPr>
        </p:nvSpPr>
        <p:spPr>
          <a:xfrm>
            <a:off x="359385" y="719397"/>
            <a:ext cx="11428379" cy="596144"/>
          </a:xfrm>
          <a:prstGeom prst="rect">
            <a:avLst/>
          </a:prstGeom>
        </p:spPr>
        <p:txBody>
          <a:bodyPr vert="horz" wrap="square" lIns="91440" tIns="45720" rIns="91440" bIns="45720" rtlCol="0" anchor="t">
            <a:noAutofit/>
          </a:bodyPr>
          <a:lstStyle>
            <a:lvl1pPr marL="0" indent="0">
              <a:buFontTx/>
              <a:buNone/>
              <a:defRPr lang="en-US" sz="2600" b="0" cap="none" spc="-100" dirty="0" smtClean="0">
                <a:ln w="3175">
                  <a:noFill/>
                </a:ln>
                <a:solidFill>
                  <a:schemeClr val="accent1"/>
                </a:solidFill>
                <a:effectLst/>
                <a:latin typeface="+mj-lt"/>
                <a:cs typeface="Segoe UI" pitchFamily="34" charset="0"/>
              </a:defRPr>
            </a:lvl1pPr>
            <a:lvl2pPr>
              <a:defRPr lang="en-US" sz="1567" dirty="0" smtClean="0"/>
            </a:lvl2pPr>
            <a:lvl3pPr>
              <a:defRPr lang="en-US" sz="1567" dirty="0" smtClean="0"/>
            </a:lvl3pPr>
            <a:lvl4pPr>
              <a:defRPr lang="en-US" sz="1371" dirty="0" smtClean="0"/>
            </a:lvl4pPr>
            <a:lvl5pPr>
              <a:defRPr lang="en-US" sz="1371"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1" y="6734889"/>
            <a:ext cx="7848600" cy="123111"/>
          </a:xfrm>
          <a:prstGeom prst="rect">
            <a:avLst/>
          </a:prstGeom>
        </p:spPr>
        <p:txBody>
          <a:bodyPr anchor="b"/>
          <a:lstStyle>
            <a:lvl1pPr marL="0" indent="0">
              <a:buNone/>
              <a:defRPr sz="800">
                <a:solidFill>
                  <a:schemeClr val="tx1">
                    <a:lumMod val="50000"/>
                  </a:schemeClr>
                </a:solidFill>
              </a:defRPr>
            </a:lvl1pPr>
          </a:lstStyle>
          <a:p>
            <a:pPr lvl="0"/>
            <a:r>
              <a:rPr lang="en-US" sz="800"/>
              <a:t>Source:</a:t>
            </a:r>
            <a:endParaRPr lang="en-US"/>
          </a:p>
        </p:txBody>
      </p:sp>
    </p:spTree>
    <p:extLst>
      <p:ext uri="{BB962C8B-B14F-4D97-AF65-F5344CB8AC3E}">
        <p14:creationId xmlns:p14="http://schemas.microsoft.com/office/powerpoint/2010/main" val="29275282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70" y="3059668"/>
            <a:ext cx="11311107" cy="738664"/>
          </a:xfrm>
        </p:spPr>
        <p:txBody>
          <a:bodyPr anchor="ctr" anchorCtr="0"/>
          <a:lstStyle>
            <a:lvl1pPr>
              <a:defRPr sz="4801" b="0">
                <a:latin typeface="+mn-lt"/>
              </a:defRPr>
            </a:lvl1pPr>
          </a:lstStyle>
          <a:p>
            <a:r>
              <a:rPr lang="en-US"/>
              <a:t>Click to edit Master title style</a:t>
            </a:r>
          </a:p>
        </p:txBody>
      </p:sp>
      <p:grpSp>
        <p:nvGrpSpPr>
          <p:cNvPr id="17" name="Group 16"/>
          <p:cNvGrpSpPr/>
          <p:nvPr userDrawn="1"/>
        </p:nvGrpSpPr>
        <p:grpSpPr>
          <a:xfrm>
            <a:off x="10493815" y="6287141"/>
            <a:ext cx="1229262" cy="261833"/>
            <a:chOff x="3321050" y="454025"/>
            <a:chExt cx="5910263" cy="1258888"/>
          </a:xfrm>
        </p:grpSpPr>
        <p:sp>
          <p:nvSpPr>
            <p:cNvPr id="18" name="Freeform 3"/>
            <p:cNvSpPr>
              <a:spLocks noChangeArrowheads="1"/>
            </p:cNvSpPr>
            <p:nvPr/>
          </p:nvSpPr>
          <p:spPr bwMode="auto">
            <a:xfrm>
              <a:off x="4960938" y="704850"/>
              <a:ext cx="817562" cy="757238"/>
            </a:xfrm>
            <a:custGeom>
              <a:avLst/>
              <a:gdLst>
                <a:gd name="T0" fmla="*/ 1917 w 2272"/>
                <a:gd name="T1" fmla="*/ 489 h 2104"/>
                <a:gd name="T2" fmla="*/ 1917 w 2272"/>
                <a:gd name="T3" fmla="*/ 2103 h 2104"/>
                <a:gd name="T4" fmla="*/ 2271 w 2272"/>
                <a:gd name="T5" fmla="*/ 2103 h 2104"/>
                <a:gd name="T6" fmla="*/ 2271 w 2272"/>
                <a:gd name="T7" fmla="*/ 0 h 2104"/>
                <a:gd name="T8" fmla="*/ 2271 w 2272"/>
                <a:gd name="T9" fmla="*/ 0 h 2104"/>
                <a:gd name="T10" fmla="*/ 1771 w 2272"/>
                <a:gd name="T11" fmla="*/ 0 h 2104"/>
                <a:gd name="T12" fmla="*/ 1135 w 2272"/>
                <a:gd name="T13" fmla="*/ 1561 h 2104"/>
                <a:gd name="T14" fmla="*/ 521 w 2272"/>
                <a:gd name="T15" fmla="*/ 0 h 2104"/>
                <a:gd name="T16" fmla="*/ 0 w 2272"/>
                <a:gd name="T17" fmla="*/ 0 h 2104"/>
                <a:gd name="T18" fmla="*/ 0 w 2272"/>
                <a:gd name="T19" fmla="*/ 2103 h 2104"/>
                <a:gd name="T20" fmla="*/ 344 w 2272"/>
                <a:gd name="T21" fmla="*/ 2103 h 2104"/>
                <a:gd name="T22" fmla="*/ 344 w 2272"/>
                <a:gd name="T23" fmla="*/ 489 h 2104"/>
                <a:gd name="T24" fmla="*/ 354 w 2272"/>
                <a:gd name="T25" fmla="*/ 489 h 2104"/>
                <a:gd name="T26" fmla="*/ 1000 w 2272"/>
                <a:gd name="T27" fmla="*/ 2103 h 2104"/>
                <a:gd name="T28" fmla="*/ 1260 w 2272"/>
                <a:gd name="T29" fmla="*/ 2103 h 2104"/>
                <a:gd name="T30" fmla="*/ 1906 w 2272"/>
                <a:gd name="T31" fmla="*/ 489 h 2104"/>
                <a:gd name="T32" fmla="*/ 1917 w 2272"/>
                <a:gd name="T33" fmla="*/ 489 h 2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2" h="2104">
                  <a:moveTo>
                    <a:pt x="1917" y="489"/>
                  </a:moveTo>
                  <a:lnTo>
                    <a:pt x="1917" y="2103"/>
                  </a:lnTo>
                  <a:lnTo>
                    <a:pt x="2271" y="2103"/>
                  </a:lnTo>
                  <a:lnTo>
                    <a:pt x="2271" y="0"/>
                  </a:lnTo>
                  <a:lnTo>
                    <a:pt x="2271" y="0"/>
                  </a:lnTo>
                  <a:lnTo>
                    <a:pt x="1771" y="0"/>
                  </a:lnTo>
                  <a:lnTo>
                    <a:pt x="1135" y="1561"/>
                  </a:lnTo>
                  <a:lnTo>
                    <a:pt x="521" y="0"/>
                  </a:lnTo>
                  <a:lnTo>
                    <a:pt x="0" y="0"/>
                  </a:lnTo>
                  <a:lnTo>
                    <a:pt x="0" y="2103"/>
                  </a:lnTo>
                  <a:lnTo>
                    <a:pt x="344" y="2103"/>
                  </a:lnTo>
                  <a:lnTo>
                    <a:pt x="344" y="489"/>
                  </a:lnTo>
                  <a:lnTo>
                    <a:pt x="354" y="489"/>
                  </a:lnTo>
                  <a:lnTo>
                    <a:pt x="1000" y="2103"/>
                  </a:lnTo>
                  <a:lnTo>
                    <a:pt x="1260" y="2103"/>
                  </a:lnTo>
                  <a:lnTo>
                    <a:pt x="1906" y="489"/>
                  </a:lnTo>
                  <a:lnTo>
                    <a:pt x="1917" y="489"/>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9" name="Freeform 4"/>
            <p:cNvSpPr>
              <a:spLocks noChangeArrowheads="1"/>
            </p:cNvSpPr>
            <p:nvPr/>
          </p:nvSpPr>
          <p:spPr bwMode="auto">
            <a:xfrm>
              <a:off x="5889625" y="688975"/>
              <a:ext cx="153988" cy="773113"/>
            </a:xfrm>
            <a:custGeom>
              <a:avLst/>
              <a:gdLst>
                <a:gd name="T0" fmla="*/ 209 w 428"/>
                <a:gd name="T1" fmla="*/ 0 h 2146"/>
                <a:gd name="T2" fmla="*/ 209 w 428"/>
                <a:gd name="T3" fmla="*/ 0 h 2146"/>
                <a:gd name="T4" fmla="*/ 63 w 428"/>
                <a:gd name="T5" fmla="*/ 52 h 2146"/>
                <a:gd name="T6" fmla="*/ 0 w 428"/>
                <a:gd name="T7" fmla="*/ 208 h 2146"/>
                <a:gd name="T8" fmla="*/ 63 w 428"/>
                <a:gd name="T9" fmla="*/ 344 h 2146"/>
                <a:gd name="T10" fmla="*/ 209 w 428"/>
                <a:gd name="T11" fmla="*/ 406 h 2146"/>
                <a:gd name="T12" fmla="*/ 365 w 428"/>
                <a:gd name="T13" fmla="*/ 344 h 2146"/>
                <a:gd name="T14" fmla="*/ 427 w 428"/>
                <a:gd name="T15" fmla="*/ 208 h 2146"/>
                <a:gd name="T16" fmla="*/ 365 w 428"/>
                <a:gd name="T17" fmla="*/ 62 h 2146"/>
                <a:gd name="T18" fmla="*/ 209 w 428"/>
                <a:gd name="T19" fmla="*/ 0 h 2146"/>
                <a:gd name="T20" fmla="*/ 386 w 428"/>
                <a:gd name="T21" fmla="*/ 635 h 2146"/>
                <a:gd name="T22" fmla="*/ 386 w 428"/>
                <a:gd name="T23" fmla="*/ 635 h 2146"/>
                <a:gd name="T24" fmla="*/ 32 w 428"/>
                <a:gd name="T25" fmla="*/ 635 h 2146"/>
                <a:gd name="T26" fmla="*/ 32 w 428"/>
                <a:gd name="T27" fmla="*/ 2145 h 2146"/>
                <a:gd name="T28" fmla="*/ 386 w 428"/>
                <a:gd name="T29" fmla="*/ 2145 h 2146"/>
                <a:gd name="T30" fmla="*/ 386 w 428"/>
                <a:gd name="T31" fmla="*/ 635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8" h="2146">
                  <a:moveTo>
                    <a:pt x="209" y="0"/>
                  </a:moveTo>
                  <a:lnTo>
                    <a:pt x="209" y="0"/>
                  </a:lnTo>
                  <a:cubicBezTo>
                    <a:pt x="157" y="0"/>
                    <a:pt x="104" y="21"/>
                    <a:pt x="63" y="52"/>
                  </a:cubicBezTo>
                  <a:cubicBezTo>
                    <a:pt x="21" y="94"/>
                    <a:pt x="0" y="146"/>
                    <a:pt x="0" y="208"/>
                  </a:cubicBezTo>
                  <a:cubicBezTo>
                    <a:pt x="0" y="260"/>
                    <a:pt x="21" y="312"/>
                    <a:pt x="63" y="344"/>
                  </a:cubicBezTo>
                  <a:cubicBezTo>
                    <a:pt x="104" y="385"/>
                    <a:pt x="157" y="406"/>
                    <a:pt x="209" y="406"/>
                  </a:cubicBezTo>
                  <a:cubicBezTo>
                    <a:pt x="271" y="406"/>
                    <a:pt x="323" y="385"/>
                    <a:pt x="365" y="344"/>
                  </a:cubicBezTo>
                  <a:cubicBezTo>
                    <a:pt x="407" y="312"/>
                    <a:pt x="427" y="260"/>
                    <a:pt x="427" y="208"/>
                  </a:cubicBezTo>
                  <a:cubicBezTo>
                    <a:pt x="427" y="146"/>
                    <a:pt x="407" y="94"/>
                    <a:pt x="365" y="62"/>
                  </a:cubicBezTo>
                  <a:cubicBezTo>
                    <a:pt x="323" y="21"/>
                    <a:pt x="271" y="0"/>
                    <a:pt x="209" y="0"/>
                  </a:cubicBezTo>
                  <a:close/>
                  <a:moveTo>
                    <a:pt x="386" y="635"/>
                  </a:moveTo>
                  <a:lnTo>
                    <a:pt x="386" y="635"/>
                  </a:lnTo>
                  <a:cubicBezTo>
                    <a:pt x="32" y="635"/>
                    <a:pt x="32" y="635"/>
                    <a:pt x="32" y="635"/>
                  </a:cubicBezTo>
                  <a:cubicBezTo>
                    <a:pt x="32" y="2145"/>
                    <a:pt x="32" y="2145"/>
                    <a:pt x="32" y="2145"/>
                  </a:cubicBezTo>
                  <a:cubicBezTo>
                    <a:pt x="386" y="2145"/>
                    <a:pt x="386" y="2145"/>
                    <a:pt x="386" y="2145"/>
                  </a:cubicBezTo>
                  <a:cubicBezTo>
                    <a:pt x="386" y="635"/>
                    <a:pt x="386" y="635"/>
                    <a:pt x="386" y="635"/>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0" name="Freeform 5"/>
            <p:cNvSpPr>
              <a:spLocks noChangeArrowheads="1"/>
            </p:cNvSpPr>
            <p:nvPr/>
          </p:nvSpPr>
          <p:spPr bwMode="auto">
            <a:xfrm>
              <a:off x="6119813" y="906463"/>
              <a:ext cx="423862" cy="566737"/>
            </a:xfrm>
            <a:custGeom>
              <a:avLst/>
              <a:gdLst>
                <a:gd name="T0" fmla="*/ 801 w 1177"/>
                <a:gd name="T1" fmla="*/ 0 h 1573"/>
                <a:gd name="T2" fmla="*/ 801 w 1177"/>
                <a:gd name="T3" fmla="*/ 0 h 1573"/>
                <a:gd name="T4" fmla="*/ 375 w 1177"/>
                <a:gd name="T5" fmla="*/ 104 h 1573"/>
                <a:gd name="T6" fmla="*/ 94 w 1177"/>
                <a:gd name="T7" fmla="*/ 396 h 1573"/>
                <a:gd name="T8" fmla="*/ 0 w 1177"/>
                <a:gd name="T9" fmla="*/ 822 h 1573"/>
                <a:gd name="T10" fmla="*/ 94 w 1177"/>
                <a:gd name="T11" fmla="*/ 1207 h 1573"/>
                <a:gd name="T12" fmla="*/ 354 w 1177"/>
                <a:gd name="T13" fmla="*/ 1478 h 1573"/>
                <a:gd name="T14" fmla="*/ 738 w 1177"/>
                <a:gd name="T15" fmla="*/ 1572 h 1573"/>
                <a:gd name="T16" fmla="*/ 1165 w 1177"/>
                <a:gd name="T17" fmla="*/ 1478 h 1573"/>
                <a:gd name="T18" fmla="*/ 1176 w 1177"/>
                <a:gd name="T19" fmla="*/ 1468 h 1573"/>
                <a:gd name="T20" fmla="*/ 1176 w 1177"/>
                <a:gd name="T21" fmla="*/ 1145 h 1573"/>
                <a:gd name="T22" fmla="*/ 1155 w 1177"/>
                <a:gd name="T23" fmla="*/ 1155 h 1573"/>
                <a:gd name="T24" fmla="*/ 988 w 1177"/>
                <a:gd name="T25" fmla="*/ 1249 h 1573"/>
                <a:gd name="T26" fmla="*/ 811 w 1177"/>
                <a:gd name="T27" fmla="*/ 1280 h 1573"/>
                <a:gd name="T28" fmla="*/ 488 w 1177"/>
                <a:gd name="T29" fmla="*/ 1155 h 1573"/>
                <a:gd name="T30" fmla="*/ 364 w 1177"/>
                <a:gd name="T31" fmla="*/ 791 h 1573"/>
                <a:gd name="T32" fmla="*/ 488 w 1177"/>
                <a:gd name="T33" fmla="*/ 427 h 1573"/>
                <a:gd name="T34" fmla="*/ 822 w 1177"/>
                <a:gd name="T35" fmla="*/ 292 h 1573"/>
                <a:gd name="T36" fmla="*/ 1155 w 1177"/>
                <a:gd name="T37" fmla="*/ 406 h 1573"/>
                <a:gd name="T38" fmla="*/ 1176 w 1177"/>
                <a:gd name="T39" fmla="*/ 417 h 1573"/>
                <a:gd name="T40" fmla="*/ 1176 w 1177"/>
                <a:gd name="T41" fmla="*/ 73 h 1573"/>
                <a:gd name="T42" fmla="*/ 1165 w 1177"/>
                <a:gd name="T43" fmla="*/ 73 h 1573"/>
                <a:gd name="T44" fmla="*/ 999 w 1177"/>
                <a:gd name="T45" fmla="*/ 21 h 1573"/>
                <a:gd name="T46" fmla="*/ 801 w 1177"/>
                <a:gd name="T4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7" h="1573">
                  <a:moveTo>
                    <a:pt x="801" y="0"/>
                  </a:moveTo>
                  <a:lnTo>
                    <a:pt x="801" y="0"/>
                  </a:lnTo>
                  <a:cubicBezTo>
                    <a:pt x="645" y="0"/>
                    <a:pt x="499" y="31"/>
                    <a:pt x="375" y="104"/>
                  </a:cubicBezTo>
                  <a:cubicBezTo>
                    <a:pt x="250" y="167"/>
                    <a:pt x="156" y="271"/>
                    <a:pt x="94" y="396"/>
                  </a:cubicBezTo>
                  <a:cubicBezTo>
                    <a:pt x="31" y="520"/>
                    <a:pt x="0" y="666"/>
                    <a:pt x="0" y="822"/>
                  </a:cubicBezTo>
                  <a:cubicBezTo>
                    <a:pt x="0" y="968"/>
                    <a:pt x="31" y="1093"/>
                    <a:pt x="94" y="1207"/>
                  </a:cubicBezTo>
                  <a:cubicBezTo>
                    <a:pt x="156" y="1322"/>
                    <a:pt x="239" y="1416"/>
                    <a:pt x="354" y="1478"/>
                  </a:cubicBezTo>
                  <a:cubicBezTo>
                    <a:pt x="467" y="1541"/>
                    <a:pt x="593" y="1572"/>
                    <a:pt x="738" y="1572"/>
                  </a:cubicBezTo>
                  <a:cubicBezTo>
                    <a:pt x="905" y="1572"/>
                    <a:pt x="1051" y="1541"/>
                    <a:pt x="1165" y="1478"/>
                  </a:cubicBezTo>
                  <a:cubicBezTo>
                    <a:pt x="1176" y="1468"/>
                    <a:pt x="1176" y="1468"/>
                    <a:pt x="1176" y="1468"/>
                  </a:cubicBezTo>
                  <a:cubicBezTo>
                    <a:pt x="1176" y="1145"/>
                    <a:pt x="1176" y="1145"/>
                    <a:pt x="1176" y="1145"/>
                  </a:cubicBezTo>
                  <a:cubicBezTo>
                    <a:pt x="1155" y="1155"/>
                    <a:pt x="1155" y="1155"/>
                    <a:pt x="1155" y="1155"/>
                  </a:cubicBezTo>
                  <a:cubicBezTo>
                    <a:pt x="1103" y="1197"/>
                    <a:pt x="1051" y="1228"/>
                    <a:pt x="988" y="1249"/>
                  </a:cubicBezTo>
                  <a:cubicBezTo>
                    <a:pt x="926" y="1270"/>
                    <a:pt x="863" y="1280"/>
                    <a:pt x="811" y="1280"/>
                  </a:cubicBezTo>
                  <a:cubicBezTo>
                    <a:pt x="676" y="1280"/>
                    <a:pt x="561" y="1239"/>
                    <a:pt x="488" y="1155"/>
                  </a:cubicBezTo>
                  <a:cubicBezTo>
                    <a:pt x="406" y="1062"/>
                    <a:pt x="364" y="947"/>
                    <a:pt x="364" y="791"/>
                  </a:cubicBezTo>
                  <a:cubicBezTo>
                    <a:pt x="364" y="645"/>
                    <a:pt x="406" y="520"/>
                    <a:pt x="488" y="427"/>
                  </a:cubicBezTo>
                  <a:cubicBezTo>
                    <a:pt x="572" y="333"/>
                    <a:pt x="686" y="292"/>
                    <a:pt x="822" y="292"/>
                  </a:cubicBezTo>
                  <a:cubicBezTo>
                    <a:pt x="936" y="292"/>
                    <a:pt x="1051" y="333"/>
                    <a:pt x="1155" y="406"/>
                  </a:cubicBezTo>
                  <a:cubicBezTo>
                    <a:pt x="1176" y="417"/>
                    <a:pt x="1176" y="417"/>
                    <a:pt x="1176" y="417"/>
                  </a:cubicBezTo>
                  <a:cubicBezTo>
                    <a:pt x="1176" y="73"/>
                    <a:pt x="1176" y="73"/>
                    <a:pt x="1176" y="73"/>
                  </a:cubicBezTo>
                  <a:cubicBezTo>
                    <a:pt x="1165" y="73"/>
                    <a:pt x="1165" y="73"/>
                    <a:pt x="1165" y="73"/>
                  </a:cubicBezTo>
                  <a:cubicBezTo>
                    <a:pt x="1124" y="52"/>
                    <a:pt x="1072" y="31"/>
                    <a:pt x="999" y="21"/>
                  </a:cubicBezTo>
                  <a:cubicBezTo>
                    <a:pt x="936" y="0"/>
                    <a:pt x="874" y="0"/>
                    <a:pt x="801"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1" name="Freeform 6"/>
            <p:cNvSpPr>
              <a:spLocks noChangeArrowheads="1"/>
            </p:cNvSpPr>
            <p:nvPr/>
          </p:nvSpPr>
          <p:spPr bwMode="auto">
            <a:xfrm>
              <a:off x="6635750" y="911225"/>
              <a:ext cx="315913" cy="550863"/>
            </a:xfrm>
            <a:custGeom>
              <a:avLst/>
              <a:gdLst>
                <a:gd name="T0" fmla="*/ 354 w 876"/>
                <a:gd name="T1" fmla="*/ 282 h 1532"/>
                <a:gd name="T2" fmla="*/ 354 w 876"/>
                <a:gd name="T3" fmla="*/ 282 h 1532"/>
                <a:gd name="T4" fmla="*/ 354 w 876"/>
                <a:gd name="T5" fmla="*/ 21 h 1532"/>
                <a:gd name="T6" fmla="*/ 0 w 876"/>
                <a:gd name="T7" fmla="*/ 21 h 1532"/>
                <a:gd name="T8" fmla="*/ 0 w 876"/>
                <a:gd name="T9" fmla="*/ 1531 h 1532"/>
                <a:gd name="T10" fmla="*/ 354 w 876"/>
                <a:gd name="T11" fmla="*/ 1531 h 1532"/>
                <a:gd name="T12" fmla="*/ 354 w 876"/>
                <a:gd name="T13" fmla="*/ 760 h 1532"/>
                <a:gd name="T14" fmla="*/ 448 w 876"/>
                <a:gd name="T15" fmla="*/ 438 h 1532"/>
                <a:gd name="T16" fmla="*/ 677 w 876"/>
                <a:gd name="T17" fmla="*/ 313 h 1532"/>
                <a:gd name="T18" fmla="*/ 781 w 876"/>
                <a:gd name="T19" fmla="*/ 334 h 1532"/>
                <a:gd name="T20" fmla="*/ 865 w 876"/>
                <a:gd name="T21" fmla="*/ 365 h 1532"/>
                <a:gd name="T22" fmla="*/ 875 w 876"/>
                <a:gd name="T23" fmla="*/ 375 h 1532"/>
                <a:gd name="T24" fmla="*/ 875 w 876"/>
                <a:gd name="T25" fmla="*/ 21 h 1532"/>
                <a:gd name="T26" fmla="*/ 875 w 876"/>
                <a:gd name="T27" fmla="*/ 21 h 1532"/>
                <a:gd name="T28" fmla="*/ 729 w 876"/>
                <a:gd name="T29" fmla="*/ 0 h 1532"/>
                <a:gd name="T30" fmla="*/ 729 w 876"/>
                <a:gd name="T31" fmla="*/ 0 h 1532"/>
                <a:gd name="T32" fmla="*/ 500 w 876"/>
                <a:gd name="T33" fmla="*/ 84 h 1532"/>
                <a:gd name="T34" fmla="*/ 365 w 876"/>
                <a:gd name="T35" fmla="*/ 282 h 1532"/>
                <a:gd name="T36" fmla="*/ 354 w 876"/>
                <a:gd name="T37" fmla="*/ 282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6" h="1532">
                  <a:moveTo>
                    <a:pt x="354" y="282"/>
                  </a:moveTo>
                  <a:lnTo>
                    <a:pt x="354" y="282"/>
                  </a:lnTo>
                  <a:cubicBezTo>
                    <a:pt x="354" y="21"/>
                    <a:pt x="354" y="21"/>
                    <a:pt x="354" y="21"/>
                  </a:cubicBezTo>
                  <a:cubicBezTo>
                    <a:pt x="0" y="21"/>
                    <a:pt x="0" y="21"/>
                    <a:pt x="0" y="21"/>
                  </a:cubicBezTo>
                  <a:cubicBezTo>
                    <a:pt x="0" y="1531"/>
                    <a:pt x="0" y="1531"/>
                    <a:pt x="0" y="1531"/>
                  </a:cubicBezTo>
                  <a:cubicBezTo>
                    <a:pt x="354" y="1531"/>
                    <a:pt x="354" y="1531"/>
                    <a:pt x="354" y="1531"/>
                  </a:cubicBezTo>
                  <a:cubicBezTo>
                    <a:pt x="354" y="760"/>
                    <a:pt x="354" y="760"/>
                    <a:pt x="354" y="760"/>
                  </a:cubicBezTo>
                  <a:cubicBezTo>
                    <a:pt x="354" y="624"/>
                    <a:pt x="386" y="520"/>
                    <a:pt x="448" y="438"/>
                  </a:cubicBezTo>
                  <a:cubicBezTo>
                    <a:pt x="500" y="355"/>
                    <a:pt x="584" y="313"/>
                    <a:pt x="677" y="313"/>
                  </a:cubicBezTo>
                  <a:cubicBezTo>
                    <a:pt x="709" y="313"/>
                    <a:pt x="740" y="323"/>
                    <a:pt x="781" y="334"/>
                  </a:cubicBezTo>
                  <a:cubicBezTo>
                    <a:pt x="823" y="344"/>
                    <a:pt x="844" y="355"/>
                    <a:pt x="865" y="365"/>
                  </a:cubicBezTo>
                  <a:cubicBezTo>
                    <a:pt x="875" y="375"/>
                    <a:pt x="875" y="375"/>
                    <a:pt x="875" y="375"/>
                  </a:cubicBezTo>
                  <a:cubicBezTo>
                    <a:pt x="875" y="21"/>
                    <a:pt x="875" y="21"/>
                    <a:pt x="875" y="21"/>
                  </a:cubicBezTo>
                  <a:lnTo>
                    <a:pt x="875" y="21"/>
                  </a:lnTo>
                  <a:cubicBezTo>
                    <a:pt x="844" y="0"/>
                    <a:pt x="792" y="0"/>
                    <a:pt x="729" y="0"/>
                  </a:cubicBezTo>
                  <a:lnTo>
                    <a:pt x="729" y="0"/>
                  </a:lnTo>
                  <a:cubicBezTo>
                    <a:pt x="646" y="0"/>
                    <a:pt x="563" y="21"/>
                    <a:pt x="500" y="84"/>
                  </a:cubicBezTo>
                  <a:cubicBezTo>
                    <a:pt x="438" y="136"/>
                    <a:pt x="396" y="198"/>
                    <a:pt x="365" y="282"/>
                  </a:cubicBezTo>
                  <a:lnTo>
                    <a:pt x="354" y="28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2" name="Freeform 7"/>
            <p:cNvSpPr>
              <a:spLocks noChangeArrowheads="1"/>
            </p:cNvSpPr>
            <p:nvPr/>
          </p:nvSpPr>
          <p:spPr bwMode="auto">
            <a:xfrm>
              <a:off x="6962775" y="906463"/>
              <a:ext cx="555625" cy="566737"/>
            </a:xfrm>
            <a:custGeom>
              <a:avLst/>
              <a:gdLst>
                <a:gd name="T0" fmla="*/ 791 w 1542"/>
                <a:gd name="T1" fmla="*/ 0 h 1573"/>
                <a:gd name="T2" fmla="*/ 791 w 1542"/>
                <a:gd name="T3" fmla="*/ 0 h 1573"/>
                <a:gd name="T4" fmla="*/ 208 w 1542"/>
                <a:gd name="T5" fmla="*/ 208 h 1573"/>
                <a:gd name="T6" fmla="*/ 0 w 1542"/>
                <a:gd name="T7" fmla="*/ 801 h 1573"/>
                <a:gd name="T8" fmla="*/ 197 w 1542"/>
                <a:gd name="T9" fmla="*/ 1364 h 1573"/>
                <a:gd name="T10" fmla="*/ 760 w 1542"/>
                <a:gd name="T11" fmla="*/ 1572 h 1573"/>
                <a:gd name="T12" fmla="*/ 1333 w 1542"/>
                <a:gd name="T13" fmla="*/ 1353 h 1573"/>
                <a:gd name="T14" fmla="*/ 1541 w 1542"/>
                <a:gd name="T15" fmla="*/ 770 h 1573"/>
                <a:gd name="T16" fmla="*/ 1343 w 1542"/>
                <a:gd name="T17" fmla="*/ 208 h 1573"/>
                <a:gd name="T18" fmla="*/ 791 w 1542"/>
                <a:gd name="T19" fmla="*/ 0 h 1573"/>
                <a:gd name="T20" fmla="*/ 781 w 1542"/>
                <a:gd name="T21" fmla="*/ 1280 h 1573"/>
                <a:gd name="T22" fmla="*/ 781 w 1542"/>
                <a:gd name="T23" fmla="*/ 1280 h 1573"/>
                <a:gd name="T24" fmla="*/ 468 w 1542"/>
                <a:gd name="T25" fmla="*/ 1155 h 1573"/>
                <a:gd name="T26" fmla="*/ 364 w 1542"/>
                <a:gd name="T27" fmla="*/ 791 h 1573"/>
                <a:gd name="T28" fmla="*/ 468 w 1542"/>
                <a:gd name="T29" fmla="*/ 417 h 1573"/>
                <a:gd name="T30" fmla="*/ 770 w 1542"/>
                <a:gd name="T31" fmla="*/ 292 h 1573"/>
                <a:gd name="T32" fmla="*/ 1062 w 1542"/>
                <a:gd name="T33" fmla="*/ 417 h 1573"/>
                <a:gd name="T34" fmla="*/ 1177 w 1542"/>
                <a:gd name="T35" fmla="*/ 780 h 1573"/>
                <a:gd name="T36" fmla="*/ 1072 w 1542"/>
                <a:gd name="T37" fmla="*/ 1155 h 1573"/>
                <a:gd name="T38" fmla="*/ 781 w 1542"/>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2" h="1573">
                  <a:moveTo>
                    <a:pt x="791" y="0"/>
                  </a:moveTo>
                  <a:lnTo>
                    <a:pt x="791" y="0"/>
                  </a:lnTo>
                  <a:cubicBezTo>
                    <a:pt x="541" y="0"/>
                    <a:pt x="343" y="73"/>
                    <a:pt x="208" y="208"/>
                  </a:cubicBezTo>
                  <a:cubicBezTo>
                    <a:pt x="62" y="354"/>
                    <a:pt x="0" y="551"/>
                    <a:pt x="0" y="801"/>
                  </a:cubicBezTo>
                  <a:cubicBezTo>
                    <a:pt x="0" y="1041"/>
                    <a:pt x="62" y="1228"/>
                    <a:pt x="197" y="1364"/>
                  </a:cubicBezTo>
                  <a:cubicBezTo>
                    <a:pt x="343" y="1499"/>
                    <a:pt x="520" y="1572"/>
                    <a:pt x="760" y="1572"/>
                  </a:cubicBezTo>
                  <a:cubicBezTo>
                    <a:pt x="1000" y="1572"/>
                    <a:pt x="1187" y="1499"/>
                    <a:pt x="1333" y="1353"/>
                  </a:cubicBezTo>
                  <a:cubicBezTo>
                    <a:pt x="1468" y="1207"/>
                    <a:pt x="1541" y="1009"/>
                    <a:pt x="1541" y="770"/>
                  </a:cubicBezTo>
                  <a:cubicBezTo>
                    <a:pt x="1541" y="530"/>
                    <a:pt x="1479" y="344"/>
                    <a:pt x="1343" y="208"/>
                  </a:cubicBezTo>
                  <a:cubicBezTo>
                    <a:pt x="1208" y="63"/>
                    <a:pt x="1020" y="0"/>
                    <a:pt x="791" y="0"/>
                  </a:cubicBezTo>
                  <a:close/>
                  <a:moveTo>
                    <a:pt x="781" y="1280"/>
                  </a:moveTo>
                  <a:lnTo>
                    <a:pt x="781" y="1280"/>
                  </a:lnTo>
                  <a:cubicBezTo>
                    <a:pt x="645" y="1280"/>
                    <a:pt x="541" y="1239"/>
                    <a:pt x="468" y="1155"/>
                  </a:cubicBezTo>
                  <a:cubicBezTo>
                    <a:pt x="395" y="1072"/>
                    <a:pt x="364" y="947"/>
                    <a:pt x="364" y="791"/>
                  </a:cubicBezTo>
                  <a:cubicBezTo>
                    <a:pt x="364" y="634"/>
                    <a:pt x="395" y="509"/>
                    <a:pt x="468" y="417"/>
                  </a:cubicBezTo>
                  <a:cubicBezTo>
                    <a:pt x="541" y="333"/>
                    <a:pt x="645" y="292"/>
                    <a:pt x="770" y="292"/>
                  </a:cubicBezTo>
                  <a:cubicBezTo>
                    <a:pt x="895" y="292"/>
                    <a:pt x="1000" y="333"/>
                    <a:pt x="1062" y="417"/>
                  </a:cubicBezTo>
                  <a:cubicBezTo>
                    <a:pt x="1135" y="500"/>
                    <a:pt x="1177" y="624"/>
                    <a:pt x="1177" y="780"/>
                  </a:cubicBezTo>
                  <a:cubicBezTo>
                    <a:pt x="1177" y="947"/>
                    <a:pt x="1145" y="1072"/>
                    <a:pt x="1072" y="1155"/>
                  </a:cubicBezTo>
                  <a:cubicBezTo>
                    <a:pt x="1010" y="1239"/>
                    <a:pt x="906"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3" name="Freeform 8"/>
            <p:cNvSpPr>
              <a:spLocks noChangeArrowheads="1"/>
            </p:cNvSpPr>
            <p:nvPr/>
          </p:nvSpPr>
          <p:spPr bwMode="auto">
            <a:xfrm>
              <a:off x="7577138" y="906463"/>
              <a:ext cx="360362" cy="566737"/>
            </a:xfrm>
            <a:custGeom>
              <a:avLst/>
              <a:gdLst>
                <a:gd name="T0" fmla="*/ 583 w 1001"/>
                <a:gd name="T1" fmla="*/ 0 h 1573"/>
                <a:gd name="T2" fmla="*/ 583 w 1001"/>
                <a:gd name="T3" fmla="*/ 0 h 1573"/>
                <a:gd name="T4" fmla="*/ 167 w 1001"/>
                <a:gd name="T5" fmla="*/ 125 h 1573"/>
                <a:gd name="T6" fmla="*/ 0 w 1001"/>
                <a:gd name="T7" fmla="*/ 458 h 1573"/>
                <a:gd name="T8" fmla="*/ 42 w 1001"/>
                <a:gd name="T9" fmla="*/ 645 h 1573"/>
                <a:gd name="T10" fmla="*/ 146 w 1001"/>
                <a:gd name="T11" fmla="*/ 780 h 1573"/>
                <a:gd name="T12" fmla="*/ 364 w 1001"/>
                <a:gd name="T13" fmla="*/ 905 h 1573"/>
                <a:gd name="T14" fmla="*/ 542 w 1001"/>
                <a:gd name="T15" fmla="*/ 989 h 1573"/>
                <a:gd name="T16" fmla="*/ 625 w 1001"/>
                <a:gd name="T17" fmla="*/ 1062 h 1573"/>
                <a:gd name="T18" fmla="*/ 646 w 1001"/>
                <a:gd name="T19" fmla="*/ 1145 h 1573"/>
                <a:gd name="T20" fmla="*/ 417 w 1001"/>
                <a:gd name="T21" fmla="*/ 1291 h 1573"/>
                <a:gd name="T22" fmla="*/ 219 w 1001"/>
                <a:gd name="T23" fmla="*/ 1259 h 1573"/>
                <a:gd name="T24" fmla="*/ 21 w 1001"/>
                <a:gd name="T25" fmla="*/ 1155 h 1573"/>
                <a:gd name="T26" fmla="*/ 0 w 1001"/>
                <a:gd name="T27" fmla="*/ 1145 h 1573"/>
                <a:gd name="T28" fmla="*/ 0 w 1001"/>
                <a:gd name="T29" fmla="*/ 1489 h 1573"/>
                <a:gd name="T30" fmla="*/ 10 w 1001"/>
                <a:gd name="T31" fmla="*/ 1489 h 1573"/>
                <a:gd name="T32" fmla="*/ 198 w 1001"/>
                <a:gd name="T33" fmla="*/ 1551 h 1573"/>
                <a:gd name="T34" fmla="*/ 396 w 1001"/>
                <a:gd name="T35" fmla="*/ 1572 h 1573"/>
                <a:gd name="T36" fmla="*/ 844 w 1001"/>
                <a:gd name="T37" fmla="*/ 1447 h 1573"/>
                <a:gd name="T38" fmla="*/ 1000 w 1001"/>
                <a:gd name="T39" fmla="*/ 1103 h 1573"/>
                <a:gd name="T40" fmla="*/ 917 w 1001"/>
                <a:gd name="T41" fmla="*/ 843 h 1573"/>
                <a:gd name="T42" fmla="*/ 614 w 1001"/>
                <a:gd name="T43" fmla="*/ 655 h 1573"/>
                <a:gd name="T44" fmla="*/ 406 w 1001"/>
                <a:gd name="T45" fmla="*/ 541 h 1573"/>
                <a:gd name="T46" fmla="*/ 364 w 1001"/>
                <a:gd name="T47" fmla="*/ 427 h 1573"/>
                <a:gd name="T48" fmla="*/ 417 w 1001"/>
                <a:gd name="T49" fmla="*/ 323 h 1573"/>
                <a:gd name="T50" fmla="*/ 562 w 1001"/>
                <a:gd name="T51" fmla="*/ 281 h 1573"/>
                <a:gd name="T52" fmla="*/ 750 w 1001"/>
                <a:gd name="T53" fmla="*/ 302 h 1573"/>
                <a:gd name="T54" fmla="*/ 906 w 1001"/>
                <a:gd name="T55" fmla="*/ 375 h 1573"/>
                <a:gd name="T56" fmla="*/ 927 w 1001"/>
                <a:gd name="T57" fmla="*/ 385 h 1573"/>
                <a:gd name="T58" fmla="*/ 927 w 1001"/>
                <a:gd name="T59" fmla="*/ 63 h 1573"/>
                <a:gd name="T60" fmla="*/ 917 w 1001"/>
                <a:gd name="T61" fmla="*/ 63 h 1573"/>
                <a:gd name="T62" fmla="*/ 760 w 1001"/>
                <a:gd name="T63" fmla="*/ 21 h 1573"/>
                <a:gd name="T64" fmla="*/ 583 w 1001"/>
                <a:gd name="T65"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573">
                  <a:moveTo>
                    <a:pt x="583" y="0"/>
                  </a:moveTo>
                  <a:lnTo>
                    <a:pt x="583" y="0"/>
                  </a:lnTo>
                  <a:cubicBezTo>
                    <a:pt x="406" y="0"/>
                    <a:pt x="271" y="42"/>
                    <a:pt x="167" y="125"/>
                  </a:cubicBezTo>
                  <a:cubicBezTo>
                    <a:pt x="52" y="208"/>
                    <a:pt x="0" y="323"/>
                    <a:pt x="0" y="458"/>
                  </a:cubicBezTo>
                  <a:cubicBezTo>
                    <a:pt x="0" y="530"/>
                    <a:pt x="10" y="593"/>
                    <a:pt x="42" y="645"/>
                  </a:cubicBezTo>
                  <a:cubicBezTo>
                    <a:pt x="62" y="697"/>
                    <a:pt x="94" y="749"/>
                    <a:pt x="146" y="780"/>
                  </a:cubicBezTo>
                  <a:cubicBezTo>
                    <a:pt x="187" y="822"/>
                    <a:pt x="260" y="864"/>
                    <a:pt x="364" y="905"/>
                  </a:cubicBezTo>
                  <a:cubicBezTo>
                    <a:pt x="448" y="937"/>
                    <a:pt x="500" y="968"/>
                    <a:pt x="542" y="989"/>
                  </a:cubicBezTo>
                  <a:cubicBezTo>
                    <a:pt x="583" y="1009"/>
                    <a:pt x="604" y="1030"/>
                    <a:pt x="625" y="1062"/>
                  </a:cubicBezTo>
                  <a:cubicBezTo>
                    <a:pt x="635" y="1082"/>
                    <a:pt x="646" y="1103"/>
                    <a:pt x="646" y="1145"/>
                  </a:cubicBezTo>
                  <a:cubicBezTo>
                    <a:pt x="646" y="1239"/>
                    <a:pt x="573" y="1291"/>
                    <a:pt x="417" y="1291"/>
                  </a:cubicBezTo>
                  <a:cubicBezTo>
                    <a:pt x="354" y="1291"/>
                    <a:pt x="292" y="1280"/>
                    <a:pt x="219" y="1259"/>
                  </a:cubicBezTo>
                  <a:cubicBezTo>
                    <a:pt x="146" y="1228"/>
                    <a:pt x="73" y="1197"/>
                    <a:pt x="21" y="1155"/>
                  </a:cubicBezTo>
                  <a:cubicBezTo>
                    <a:pt x="0" y="1145"/>
                    <a:pt x="0" y="1145"/>
                    <a:pt x="0" y="1145"/>
                  </a:cubicBezTo>
                  <a:cubicBezTo>
                    <a:pt x="0" y="1489"/>
                    <a:pt x="0" y="1489"/>
                    <a:pt x="0" y="1489"/>
                  </a:cubicBezTo>
                  <a:cubicBezTo>
                    <a:pt x="10" y="1489"/>
                    <a:pt x="10" y="1489"/>
                    <a:pt x="10" y="1489"/>
                  </a:cubicBezTo>
                  <a:cubicBezTo>
                    <a:pt x="62" y="1520"/>
                    <a:pt x="125" y="1530"/>
                    <a:pt x="198" y="1551"/>
                  </a:cubicBezTo>
                  <a:cubicBezTo>
                    <a:pt x="271" y="1562"/>
                    <a:pt x="344" y="1572"/>
                    <a:pt x="396" y="1572"/>
                  </a:cubicBezTo>
                  <a:cubicBezTo>
                    <a:pt x="583" y="1572"/>
                    <a:pt x="729" y="1530"/>
                    <a:pt x="844" y="1447"/>
                  </a:cubicBezTo>
                  <a:cubicBezTo>
                    <a:pt x="948" y="1364"/>
                    <a:pt x="1000" y="1239"/>
                    <a:pt x="1000" y="1103"/>
                  </a:cubicBezTo>
                  <a:cubicBezTo>
                    <a:pt x="1000" y="999"/>
                    <a:pt x="969" y="916"/>
                    <a:pt x="917" y="843"/>
                  </a:cubicBezTo>
                  <a:cubicBezTo>
                    <a:pt x="854" y="770"/>
                    <a:pt x="760" y="707"/>
                    <a:pt x="614" y="655"/>
                  </a:cubicBezTo>
                  <a:cubicBezTo>
                    <a:pt x="500" y="614"/>
                    <a:pt x="437" y="572"/>
                    <a:pt x="406" y="541"/>
                  </a:cubicBezTo>
                  <a:cubicBezTo>
                    <a:pt x="375" y="520"/>
                    <a:pt x="364" y="479"/>
                    <a:pt x="364" y="427"/>
                  </a:cubicBezTo>
                  <a:cubicBezTo>
                    <a:pt x="364" y="385"/>
                    <a:pt x="375" y="354"/>
                    <a:pt x="417" y="323"/>
                  </a:cubicBezTo>
                  <a:cubicBezTo>
                    <a:pt x="448" y="292"/>
                    <a:pt x="500" y="281"/>
                    <a:pt x="562" y="281"/>
                  </a:cubicBezTo>
                  <a:cubicBezTo>
                    <a:pt x="625" y="281"/>
                    <a:pt x="687" y="292"/>
                    <a:pt x="750" y="302"/>
                  </a:cubicBezTo>
                  <a:cubicBezTo>
                    <a:pt x="812" y="323"/>
                    <a:pt x="864" y="354"/>
                    <a:pt x="906" y="375"/>
                  </a:cubicBezTo>
                  <a:cubicBezTo>
                    <a:pt x="927" y="385"/>
                    <a:pt x="927" y="385"/>
                    <a:pt x="927" y="385"/>
                  </a:cubicBezTo>
                  <a:cubicBezTo>
                    <a:pt x="927" y="63"/>
                    <a:pt x="927" y="63"/>
                    <a:pt x="927" y="63"/>
                  </a:cubicBezTo>
                  <a:cubicBezTo>
                    <a:pt x="917" y="63"/>
                    <a:pt x="917" y="63"/>
                    <a:pt x="917" y="63"/>
                  </a:cubicBezTo>
                  <a:cubicBezTo>
                    <a:pt x="875" y="42"/>
                    <a:pt x="823" y="31"/>
                    <a:pt x="760" y="21"/>
                  </a:cubicBezTo>
                  <a:cubicBezTo>
                    <a:pt x="687" y="0"/>
                    <a:pt x="635" y="0"/>
                    <a:pt x="583"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4" name="Freeform 9"/>
            <p:cNvSpPr>
              <a:spLocks noChangeArrowheads="1"/>
            </p:cNvSpPr>
            <p:nvPr/>
          </p:nvSpPr>
          <p:spPr bwMode="auto">
            <a:xfrm>
              <a:off x="7993063" y="906463"/>
              <a:ext cx="558800" cy="566737"/>
            </a:xfrm>
            <a:custGeom>
              <a:avLst/>
              <a:gdLst>
                <a:gd name="T0" fmla="*/ 802 w 1553"/>
                <a:gd name="T1" fmla="*/ 0 h 1573"/>
                <a:gd name="T2" fmla="*/ 802 w 1553"/>
                <a:gd name="T3" fmla="*/ 0 h 1573"/>
                <a:gd name="T4" fmla="*/ 208 w 1553"/>
                <a:gd name="T5" fmla="*/ 208 h 1573"/>
                <a:gd name="T6" fmla="*/ 0 w 1553"/>
                <a:gd name="T7" fmla="*/ 801 h 1573"/>
                <a:gd name="T8" fmla="*/ 208 w 1553"/>
                <a:gd name="T9" fmla="*/ 1364 h 1573"/>
                <a:gd name="T10" fmla="*/ 761 w 1553"/>
                <a:gd name="T11" fmla="*/ 1572 h 1573"/>
                <a:gd name="T12" fmla="*/ 1333 w 1553"/>
                <a:gd name="T13" fmla="*/ 1353 h 1573"/>
                <a:gd name="T14" fmla="*/ 1552 w 1553"/>
                <a:gd name="T15" fmla="*/ 770 h 1573"/>
                <a:gd name="T16" fmla="*/ 1344 w 1553"/>
                <a:gd name="T17" fmla="*/ 208 h 1573"/>
                <a:gd name="T18" fmla="*/ 802 w 1553"/>
                <a:gd name="T19" fmla="*/ 0 h 1573"/>
                <a:gd name="T20" fmla="*/ 781 w 1553"/>
                <a:gd name="T21" fmla="*/ 1280 h 1573"/>
                <a:gd name="T22" fmla="*/ 781 w 1553"/>
                <a:gd name="T23" fmla="*/ 1280 h 1573"/>
                <a:gd name="T24" fmla="*/ 479 w 1553"/>
                <a:gd name="T25" fmla="*/ 1155 h 1573"/>
                <a:gd name="T26" fmla="*/ 365 w 1553"/>
                <a:gd name="T27" fmla="*/ 791 h 1573"/>
                <a:gd name="T28" fmla="*/ 479 w 1553"/>
                <a:gd name="T29" fmla="*/ 417 h 1573"/>
                <a:gd name="T30" fmla="*/ 781 w 1553"/>
                <a:gd name="T31" fmla="*/ 292 h 1573"/>
                <a:gd name="T32" fmla="*/ 1073 w 1553"/>
                <a:gd name="T33" fmla="*/ 417 h 1573"/>
                <a:gd name="T34" fmla="*/ 1177 w 1553"/>
                <a:gd name="T35" fmla="*/ 780 h 1573"/>
                <a:gd name="T36" fmla="*/ 1083 w 1553"/>
                <a:gd name="T37" fmla="*/ 1155 h 1573"/>
                <a:gd name="T38" fmla="*/ 781 w 1553"/>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53" h="1573">
                  <a:moveTo>
                    <a:pt x="802" y="0"/>
                  </a:moveTo>
                  <a:lnTo>
                    <a:pt x="802" y="0"/>
                  </a:lnTo>
                  <a:cubicBezTo>
                    <a:pt x="552" y="0"/>
                    <a:pt x="354" y="73"/>
                    <a:pt x="208" y="208"/>
                  </a:cubicBezTo>
                  <a:cubicBezTo>
                    <a:pt x="73" y="354"/>
                    <a:pt x="0" y="551"/>
                    <a:pt x="0" y="801"/>
                  </a:cubicBezTo>
                  <a:cubicBezTo>
                    <a:pt x="0" y="1041"/>
                    <a:pt x="73" y="1228"/>
                    <a:pt x="208" y="1364"/>
                  </a:cubicBezTo>
                  <a:cubicBezTo>
                    <a:pt x="344" y="1499"/>
                    <a:pt x="531" y="1572"/>
                    <a:pt x="761" y="1572"/>
                  </a:cubicBezTo>
                  <a:cubicBezTo>
                    <a:pt x="1000" y="1572"/>
                    <a:pt x="1198" y="1499"/>
                    <a:pt x="1333" y="1353"/>
                  </a:cubicBezTo>
                  <a:cubicBezTo>
                    <a:pt x="1479" y="1207"/>
                    <a:pt x="1552" y="1009"/>
                    <a:pt x="1552" y="770"/>
                  </a:cubicBezTo>
                  <a:cubicBezTo>
                    <a:pt x="1552" y="530"/>
                    <a:pt x="1479" y="344"/>
                    <a:pt x="1344" y="208"/>
                  </a:cubicBezTo>
                  <a:cubicBezTo>
                    <a:pt x="1219" y="63"/>
                    <a:pt x="1031" y="0"/>
                    <a:pt x="802" y="0"/>
                  </a:cubicBezTo>
                  <a:close/>
                  <a:moveTo>
                    <a:pt x="781" y="1280"/>
                  </a:moveTo>
                  <a:lnTo>
                    <a:pt x="781" y="1280"/>
                  </a:lnTo>
                  <a:cubicBezTo>
                    <a:pt x="656" y="1280"/>
                    <a:pt x="552" y="1239"/>
                    <a:pt x="479" y="1155"/>
                  </a:cubicBezTo>
                  <a:cubicBezTo>
                    <a:pt x="406" y="1072"/>
                    <a:pt x="365" y="947"/>
                    <a:pt x="365" y="791"/>
                  </a:cubicBezTo>
                  <a:cubicBezTo>
                    <a:pt x="365" y="634"/>
                    <a:pt x="406" y="509"/>
                    <a:pt x="479" y="417"/>
                  </a:cubicBezTo>
                  <a:cubicBezTo>
                    <a:pt x="552" y="333"/>
                    <a:pt x="646" y="292"/>
                    <a:pt x="781" y="292"/>
                  </a:cubicBezTo>
                  <a:cubicBezTo>
                    <a:pt x="906" y="292"/>
                    <a:pt x="1000" y="333"/>
                    <a:pt x="1073" y="417"/>
                  </a:cubicBezTo>
                  <a:cubicBezTo>
                    <a:pt x="1146" y="500"/>
                    <a:pt x="1177" y="624"/>
                    <a:pt x="1177" y="780"/>
                  </a:cubicBezTo>
                  <a:cubicBezTo>
                    <a:pt x="1177" y="947"/>
                    <a:pt x="1146" y="1072"/>
                    <a:pt x="1083" y="1155"/>
                  </a:cubicBezTo>
                  <a:cubicBezTo>
                    <a:pt x="1011" y="1239"/>
                    <a:pt x="917"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5" name="Freeform 10"/>
            <p:cNvSpPr>
              <a:spLocks noChangeArrowheads="1"/>
            </p:cNvSpPr>
            <p:nvPr/>
          </p:nvSpPr>
          <p:spPr bwMode="auto">
            <a:xfrm>
              <a:off x="8562975" y="647700"/>
              <a:ext cx="668338" cy="825500"/>
            </a:xfrm>
            <a:custGeom>
              <a:avLst/>
              <a:gdLst>
                <a:gd name="T0" fmla="*/ 1855 w 1856"/>
                <a:gd name="T1" fmla="*/ 1042 h 2292"/>
                <a:gd name="T2" fmla="*/ 1855 w 1856"/>
                <a:gd name="T3" fmla="*/ 1042 h 2292"/>
                <a:gd name="T4" fmla="*/ 1855 w 1856"/>
                <a:gd name="T5" fmla="*/ 750 h 2292"/>
                <a:gd name="T6" fmla="*/ 1490 w 1856"/>
                <a:gd name="T7" fmla="*/ 750 h 2292"/>
                <a:gd name="T8" fmla="*/ 1490 w 1856"/>
                <a:gd name="T9" fmla="*/ 302 h 2292"/>
                <a:gd name="T10" fmla="*/ 1480 w 1856"/>
                <a:gd name="T11" fmla="*/ 313 h 2292"/>
                <a:gd name="T12" fmla="*/ 1146 w 1856"/>
                <a:gd name="T13" fmla="*/ 407 h 2292"/>
                <a:gd name="T14" fmla="*/ 1136 w 1856"/>
                <a:gd name="T15" fmla="*/ 417 h 2292"/>
                <a:gd name="T16" fmla="*/ 1136 w 1856"/>
                <a:gd name="T17" fmla="*/ 750 h 2292"/>
                <a:gd name="T18" fmla="*/ 605 w 1856"/>
                <a:gd name="T19" fmla="*/ 750 h 2292"/>
                <a:gd name="T20" fmla="*/ 605 w 1856"/>
                <a:gd name="T21" fmla="*/ 563 h 2292"/>
                <a:gd name="T22" fmla="*/ 667 w 1856"/>
                <a:gd name="T23" fmla="*/ 365 h 2292"/>
                <a:gd name="T24" fmla="*/ 834 w 1856"/>
                <a:gd name="T25" fmla="*/ 292 h 2292"/>
                <a:gd name="T26" fmla="*/ 990 w 1856"/>
                <a:gd name="T27" fmla="*/ 334 h 2292"/>
                <a:gd name="T28" fmla="*/ 1000 w 1856"/>
                <a:gd name="T29" fmla="*/ 334 h 2292"/>
                <a:gd name="T30" fmla="*/ 1000 w 1856"/>
                <a:gd name="T31" fmla="*/ 32 h 2292"/>
                <a:gd name="T32" fmla="*/ 990 w 1856"/>
                <a:gd name="T33" fmla="*/ 32 h 2292"/>
                <a:gd name="T34" fmla="*/ 792 w 1856"/>
                <a:gd name="T35" fmla="*/ 0 h 2292"/>
                <a:gd name="T36" fmla="*/ 511 w 1856"/>
                <a:gd name="T37" fmla="*/ 73 h 2292"/>
                <a:gd name="T38" fmla="*/ 313 w 1856"/>
                <a:gd name="T39" fmla="*/ 261 h 2292"/>
                <a:gd name="T40" fmla="*/ 250 w 1856"/>
                <a:gd name="T41" fmla="*/ 542 h 2292"/>
                <a:gd name="T42" fmla="*/ 250 w 1856"/>
                <a:gd name="T43" fmla="*/ 750 h 2292"/>
                <a:gd name="T44" fmla="*/ 0 w 1856"/>
                <a:gd name="T45" fmla="*/ 750 h 2292"/>
                <a:gd name="T46" fmla="*/ 0 w 1856"/>
                <a:gd name="T47" fmla="*/ 1042 h 2292"/>
                <a:gd name="T48" fmla="*/ 250 w 1856"/>
                <a:gd name="T49" fmla="*/ 1042 h 2292"/>
                <a:gd name="T50" fmla="*/ 250 w 1856"/>
                <a:gd name="T51" fmla="*/ 2260 h 2292"/>
                <a:gd name="T52" fmla="*/ 605 w 1856"/>
                <a:gd name="T53" fmla="*/ 2260 h 2292"/>
                <a:gd name="T54" fmla="*/ 605 w 1856"/>
                <a:gd name="T55" fmla="*/ 1042 h 2292"/>
                <a:gd name="T56" fmla="*/ 1136 w 1856"/>
                <a:gd name="T57" fmla="*/ 1042 h 2292"/>
                <a:gd name="T58" fmla="*/ 1136 w 1856"/>
                <a:gd name="T59" fmla="*/ 1812 h 2292"/>
                <a:gd name="T60" fmla="*/ 1584 w 1856"/>
                <a:gd name="T61" fmla="*/ 2291 h 2292"/>
                <a:gd name="T62" fmla="*/ 1740 w 1856"/>
                <a:gd name="T63" fmla="*/ 2281 h 2292"/>
                <a:gd name="T64" fmla="*/ 1844 w 1856"/>
                <a:gd name="T65" fmla="*/ 2239 h 2292"/>
                <a:gd name="T66" fmla="*/ 1855 w 1856"/>
                <a:gd name="T67" fmla="*/ 2239 h 2292"/>
                <a:gd name="T68" fmla="*/ 1855 w 1856"/>
                <a:gd name="T69" fmla="*/ 1947 h 2292"/>
                <a:gd name="T70" fmla="*/ 1834 w 1856"/>
                <a:gd name="T71" fmla="*/ 1958 h 2292"/>
                <a:gd name="T72" fmla="*/ 1761 w 1856"/>
                <a:gd name="T73" fmla="*/ 1989 h 2292"/>
                <a:gd name="T74" fmla="*/ 1698 w 1856"/>
                <a:gd name="T75" fmla="*/ 1999 h 2292"/>
                <a:gd name="T76" fmla="*/ 1542 w 1856"/>
                <a:gd name="T77" fmla="*/ 1947 h 2292"/>
                <a:gd name="T78" fmla="*/ 1490 w 1856"/>
                <a:gd name="T79" fmla="*/ 1749 h 2292"/>
                <a:gd name="T80" fmla="*/ 1490 w 1856"/>
                <a:gd name="T81" fmla="*/ 1042 h 2292"/>
                <a:gd name="T82" fmla="*/ 1855 w 1856"/>
                <a:gd name="T83" fmla="*/ 1042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2292">
                  <a:moveTo>
                    <a:pt x="1855" y="1042"/>
                  </a:moveTo>
                  <a:lnTo>
                    <a:pt x="1855" y="1042"/>
                  </a:lnTo>
                  <a:cubicBezTo>
                    <a:pt x="1855" y="750"/>
                    <a:pt x="1855" y="750"/>
                    <a:pt x="1855" y="750"/>
                  </a:cubicBezTo>
                  <a:cubicBezTo>
                    <a:pt x="1490" y="750"/>
                    <a:pt x="1490" y="750"/>
                    <a:pt x="1490" y="750"/>
                  </a:cubicBezTo>
                  <a:cubicBezTo>
                    <a:pt x="1490" y="302"/>
                    <a:pt x="1490" y="302"/>
                    <a:pt x="1490" y="302"/>
                  </a:cubicBezTo>
                  <a:cubicBezTo>
                    <a:pt x="1480" y="313"/>
                    <a:pt x="1480" y="313"/>
                    <a:pt x="1480" y="313"/>
                  </a:cubicBezTo>
                  <a:cubicBezTo>
                    <a:pt x="1146" y="407"/>
                    <a:pt x="1146" y="407"/>
                    <a:pt x="1146" y="407"/>
                  </a:cubicBezTo>
                  <a:cubicBezTo>
                    <a:pt x="1136" y="417"/>
                    <a:pt x="1136" y="417"/>
                    <a:pt x="1136" y="417"/>
                  </a:cubicBezTo>
                  <a:cubicBezTo>
                    <a:pt x="1136" y="750"/>
                    <a:pt x="1136" y="750"/>
                    <a:pt x="1136" y="750"/>
                  </a:cubicBezTo>
                  <a:cubicBezTo>
                    <a:pt x="605" y="750"/>
                    <a:pt x="605" y="750"/>
                    <a:pt x="605" y="750"/>
                  </a:cubicBezTo>
                  <a:cubicBezTo>
                    <a:pt x="605" y="563"/>
                    <a:pt x="605" y="563"/>
                    <a:pt x="605" y="563"/>
                  </a:cubicBezTo>
                  <a:cubicBezTo>
                    <a:pt x="605" y="479"/>
                    <a:pt x="625" y="407"/>
                    <a:pt x="667" y="365"/>
                  </a:cubicBezTo>
                  <a:cubicBezTo>
                    <a:pt x="709" y="323"/>
                    <a:pt x="761" y="292"/>
                    <a:pt x="834" y="292"/>
                  </a:cubicBezTo>
                  <a:cubicBezTo>
                    <a:pt x="875" y="292"/>
                    <a:pt x="938" y="302"/>
                    <a:pt x="990" y="334"/>
                  </a:cubicBezTo>
                  <a:cubicBezTo>
                    <a:pt x="1000" y="334"/>
                    <a:pt x="1000" y="334"/>
                    <a:pt x="1000" y="334"/>
                  </a:cubicBezTo>
                  <a:cubicBezTo>
                    <a:pt x="1000" y="32"/>
                    <a:pt x="1000" y="32"/>
                    <a:pt x="1000" y="32"/>
                  </a:cubicBezTo>
                  <a:cubicBezTo>
                    <a:pt x="990" y="32"/>
                    <a:pt x="990" y="32"/>
                    <a:pt x="990" y="32"/>
                  </a:cubicBezTo>
                  <a:cubicBezTo>
                    <a:pt x="948" y="11"/>
                    <a:pt x="875" y="0"/>
                    <a:pt x="792" y="0"/>
                  </a:cubicBezTo>
                  <a:cubicBezTo>
                    <a:pt x="688" y="0"/>
                    <a:pt x="594" y="32"/>
                    <a:pt x="511" y="73"/>
                  </a:cubicBezTo>
                  <a:cubicBezTo>
                    <a:pt x="428" y="115"/>
                    <a:pt x="365" y="177"/>
                    <a:pt x="313" y="261"/>
                  </a:cubicBezTo>
                  <a:cubicBezTo>
                    <a:pt x="271" y="344"/>
                    <a:pt x="250" y="438"/>
                    <a:pt x="250" y="542"/>
                  </a:cubicBezTo>
                  <a:cubicBezTo>
                    <a:pt x="250" y="750"/>
                    <a:pt x="250" y="750"/>
                    <a:pt x="250" y="750"/>
                  </a:cubicBezTo>
                  <a:cubicBezTo>
                    <a:pt x="0" y="750"/>
                    <a:pt x="0" y="750"/>
                    <a:pt x="0" y="750"/>
                  </a:cubicBezTo>
                  <a:cubicBezTo>
                    <a:pt x="0" y="1042"/>
                    <a:pt x="0" y="1042"/>
                    <a:pt x="0" y="1042"/>
                  </a:cubicBezTo>
                  <a:cubicBezTo>
                    <a:pt x="250" y="1042"/>
                    <a:pt x="250" y="1042"/>
                    <a:pt x="250" y="1042"/>
                  </a:cubicBezTo>
                  <a:cubicBezTo>
                    <a:pt x="250" y="2260"/>
                    <a:pt x="250" y="2260"/>
                    <a:pt x="250" y="2260"/>
                  </a:cubicBezTo>
                  <a:cubicBezTo>
                    <a:pt x="605" y="2260"/>
                    <a:pt x="605" y="2260"/>
                    <a:pt x="605" y="2260"/>
                  </a:cubicBezTo>
                  <a:cubicBezTo>
                    <a:pt x="605" y="1042"/>
                    <a:pt x="605" y="1042"/>
                    <a:pt x="605" y="1042"/>
                  </a:cubicBezTo>
                  <a:cubicBezTo>
                    <a:pt x="1136" y="1042"/>
                    <a:pt x="1136" y="1042"/>
                    <a:pt x="1136" y="1042"/>
                  </a:cubicBezTo>
                  <a:cubicBezTo>
                    <a:pt x="1136" y="1812"/>
                    <a:pt x="1136" y="1812"/>
                    <a:pt x="1136" y="1812"/>
                  </a:cubicBezTo>
                  <a:cubicBezTo>
                    <a:pt x="1136" y="2135"/>
                    <a:pt x="1292" y="2291"/>
                    <a:pt x="1584" y="2291"/>
                  </a:cubicBezTo>
                  <a:cubicBezTo>
                    <a:pt x="1636" y="2291"/>
                    <a:pt x="1688" y="2291"/>
                    <a:pt x="1740" y="2281"/>
                  </a:cubicBezTo>
                  <a:cubicBezTo>
                    <a:pt x="1792" y="2260"/>
                    <a:pt x="1823" y="2249"/>
                    <a:pt x="1844" y="2239"/>
                  </a:cubicBezTo>
                  <a:cubicBezTo>
                    <a:pt x="1855" y="2239"/>
                    <a:pt x="1855" y="2239"/>
                    <a:pt x="1855" y="2239"/>
                  </a:cubicBezTo>
                  <a:cubicBezTo>
                    <a:pt x="1855" y="1947"/>
                    <a:pt x="1855" y="1947"/>
                    <a:pt x="1855" y="1947"/>
                  </a:cubicBezTo>
                  <a:cubicBezTo>
                    <a:pt x="1834" y="1958"/>
                    <a:pt x="1834" y="1958"/>
                    <a:pt x="1834" y="1958"/>
                  </a:cubicBezTo>
                  <a:cubicBezTo>
                    <a:pt x="1813" y="1968"/>
                    <a:pt x="1792" y="1978"/>
                    <a:pt x="1761" y="1989"/>
                  </a:cubicBezTo>
                  <a:cubicBezTo>
                    <a:pt x="1740" y="1999"/>
                    <a:pt x="1709" y="1999"/>
                    <a:pt x="1698" y="1999"/>
                  </a:cubicBezTo>
                  <a:cubicBezTo>
                    <a:pt x="1625" y="1999"/>
                    <a:pt x="1573" y="1978"/>
                    <a:pt x="1542" y="1947"/>
                  </a:cubicBezTo>
                  <a:cubicBezTo>
                    <a:pt x="1511" y="1906"/>
                    <a:pt x="1490" y="1843"/>
                    <a:pt x="1490" y="1749"/>
                  </a:cubicBezTo>
                  <a:cubicBezTo>
                    <a:pt x="1490" y="1042"/>
                    <a:pt x="1490" y="1042"/>
                    <a:pt x="1490" y="1042"/>
                  </a:cubicBezTo>
                  <a:lnTo>
                    <a:pt x="1855" y="104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6" name="Freeform 11"/>
            <p:cNvSpPr>
              <a:spLocks noChangeArrowheads="1"/>
            </p:cNvSpPr>
            <p:nvPr/>
          </p:nvSpPr>
          <p:spPr bwMode="auto">
            <a:xfrm>
              <a:off x="3321050" y="454025"/>
              <a:ext cx="600075" cy="600075"/>
            </a:xfrm>
            <a:custGeom>
              <a:avLst/>
              <a:gdLst>
                <a:gd name="T0" fmla="*/ 1667 w 1668"/>
                <a:gd name="T1" fmla="*/ 1666 h 1667"/>
                <a:gd name="T2" fmla="*/ 0 w 1668"/>
                <a:gd name="T3" fmla="*/ 1666 h 1667"/>
                <a:gd name="T4" fmla="*/ 0 w 1668"/>
                <a:gd name="T5" fmla="*/ 0 h 1667"/>
                <a:gd name="T6" fmla="*/ 1667 w 1668"/>
                <a:gd name="T7" fmla="*/ 0 h 1667"/>
                <a:gd name="T8" fmla="*/ 1667 w 1668"/>
                <a:gd name="T9" fmla="*/ 1666 h 1667"/>
              </a:gdLst>
              <a:ahLst/>
              <a:cxnLst>
                <a:cxn ang="0">
                  <a:pos x="T0" y="T1"/>
                </a:cxn>
                <a:cxn ang="0">
                  <a:pos x="T2" y="T3"/>
                </a:cxn>
                <a:cxn ang="0">
                  <a:pos x="T4" y="T5"/>
                </a:cxn>
                <a:cxn ang="0">
                  <a:pos x="T6" y="T7"/>
                </a:cxn>
                <a:cxn ang="0">
                  <a:pos x="T8" y="T9"/>
                </a:cxn>
              </a:cxnLst>
              <a:rect l="0" t="0" r="r" b="b"/>
              <a:pathLst>
                <a:path w="1668" h="1667">
                  <a:moveTo>
                    <a:pt x="1667" y="1666"/>
                  </a:moveTo>
                  <a:lnTo>
                    <a:pt x="0" y="1666"/>
                  </a:lnTo>
                  <a:lnTo>
                    <a:pt x="0" y="0"/>
                  </a:lnTo>
                  <a:lnTo>
                    <a:pt x="1667" y="0"/>
                  </a:lnTo>
                  <a:lnTo>
                    <a:pt x="1667" y="1666"/>
                  </a:lnTo>
                </a:path>
              </a:pathLst>
            </a:custGeom>
            <a:solidFill>
              <a:srgbClr val="F26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7" name="Freeform 12"/>
            <p:cNvSpPr>
              <a:spLocks noChangeArrowheads="1"/>
            </p:cNvSpPr>
            <p:nvPr/>
          </p:nvSpPr>
          <p:spPr bwMode="auto">
            <a:xfrm>
              <a:off x="3986213" y="454025"/>
              <a:ext cx="596900" cy="600075"/>
            </a:xfrm>
            <a:custGeom>
              <a:avLst/>
              <a:gdLst>
                <a:gd name="T0" fmla="*/ 1656 w 1657"/>
                <a:gd name="T1" fmla="*/ 1666 h 1667"/>
                <a:gd name="T2" fmla="*/ 0 w 1657"/>
                <a:gd name="T3" fmla="*/ 1666 h 1667"/>
                <a:gd name="T4" fmla="*/ 0 w 1657"/>
                <a:gd name="T5" fmla="*/ 0 h 1667"/>
                <a:gd name="T6" fmla="*/ 1656 w 1657"/>
                <a:gd name="T7" fmla="*/ 0 h 1667"/>
                <a:gd name="T8" fmla="*/ 1656 w 1657"/>
                <a:gd name="T9" fmla="*/ 1666 h 1667"/>
              </a:gdLst>
              <a:ahLst/>
              <a:cxnLst>
                <a:cxn ang="0">
                  <a:pos x="T0" y="T1"/>
                </a:cxn>
                <a:cxn ang="0">
                  <a:pos x="T2" y="T3"/>
                </a:cxn>
                <a:cxn ang="0">
                  <a:pos x="T4" y="T5"/>
                </a:cxn>
                <a:cxn ang="0">
                  <a:pos x="T6" y="T7"/>
                </a:cxn>
                <a:cxn ang="0">
                  <a:pos x="T8" y="T9"/>
                </a:cxn>
              </a:cxnLst>
              <a:rect l="0" t="0" r="r" b="b"/>
              <a:pathLst>
                <a:path w="1657" h="1667">
                  <a:moveTo>
                    <a:pt x="1656" y="1666"/>
                  </a:moveTo>
                  <a:lnTo>
                    <a:pt x="0" y="1666"/>
                  </a:lnTo>
                  <a:lnTo>
                    <a:pt x="0" y="0"/>
                  </a:lnTo>
                  <a:lnTo>
                    <a:pt x="1656" y="0"/>
                  </a:lnTo>
                  <a:lnTo>
                    <a:pt x="1656" y="1666"/>
                  </a:lnTo>
                </a:path>
              </a:pathLst>
            </a:custGeom>
            <a:solidFill>
              <a:srgbClr val="8DC63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8" name="Freeform 13"/>
            <p:cNvSpPr>
              <a:spLocks noChangeArrowheads="1"/>
            </p:cNvSpPr>
            <p:nvPr/>
          </p:nvSpPr>
          <p:spPr bwMode="auto">
            <a:xfrm>
              <a:off x="3321050" y="1112838"/>
              <a:ext cx="600075" cy="600075"/>
            </a:xfrm>
            <a:custGeom>
              <a:avLst/>
              <a:gdLst>
                <a:gd name="T0" fmla="*/ 1667 w 1668"/>
                <a:gd name="T1" fmla="*/ 1667 h 1668"/>
                <a:gd name="T2" fmla="*/ 0 w 1668"/>
                <a:gd name="T3" fmla="*/ 1667 h 1668"/>
                <a:gd name="T4" fmla="*/ 0 w 1668"/>
                <a:gd name="T5" fmla="*/ 0 h 1668"/>
                <a:gd name="T6" fmla="*/ 1667 w 1668"/>
                <a:gd name="T7" fmla="*/ 0 h 1668"/>
                <a:gd name="T8" fmla="*/ 1667 w 1668"/>
                <a:gd name="T9" fmla="*/ 1667 h 1668"/>
              </a:gdLst>
              <a:ahLst/>
              <a:cxnLst>
                <a:cxn ang="0">
                  <a:pos x="T0" y="T1"/>
                </a:cxn>
                <a:cxn ang="0">
                  <a:pos x="T2" y="T3"/>
                </a:cxn>
                <a:cxn ang="0">
                  <a:pos x="T4" y="T5"/>
                </a:cxn>
                <a:cxn ang="0">
                  <a:pos x="T6" y="T7"/>
                </a:cxn>
                <a:cxn ang="0">
                  <a:pos x="T8" y="T9"/>
                </a:cxn>
              </a:cxnLst>
              <a:rect l="0" t="0" r="r" b="b"/>
              <a:pathLst>
                <a:path w="1668" h="1668">
                  <a:moveTo>
                    <a:pt x="1667" y="1667"/>
                  </a:moveTo>
                  <a:lnTo>
                    <a:pt x="0" y="1667"/>
                  </a:lnTo>
                  <a:lnTo>
                    <a:pt x="0" y="0"/>
                  </a:lnTo>
                  <a:lnTo>
                    <a:pt x="1667" y="0"/>
                  </a:lnTo>
                  <a:lnTo>
                    <a:pt x="1667" y="1667"/>
                  </a:lnTo>
                </a:path>
              </a:pathLst>
            </a:custGeom>
            <a:solidFill>
              <a:srgbClr val="00AE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9" name="Freeform 14"/>
            <p:cNvSpPr>
              <a:spLocks noChangeArrowheads="1"/>
            </p:cNvSpPr>
            <p:nvPr/>
          </p:nvSpPr>
          <p:spPr bwMode="auto">
            <a:xfrm>
              <a:off x="3986213" y="1112838"/>
              <a:ext cx="596900" cy="600075"/>
            </a:xfrm>
            <a:custGeom>
              <a:avLst/>
              <a:gdLst>
                <a:gd name="T0" fmla="*/ 1656 w 1657"/>
                <a:gd name="T1" fmla="*/ 1667 h 1668"/>
                <a:gd name="T2" fmla="*/ 0 w 1657"/>
                <a:gd name="T3" fmla="*/ 1667 h 1668"/>
                <a:gd name="T4" fmla="*/ 0 w 1657"/>
                <a:gd name="T5" fmla="*/ 0 h 1668"/>
                <a:gd name="T6" fmla="*/ 1656 w 1657"/>
                <a:gd name="T7" fmla="*/ 0 h 1668"/>
                <a:gd name="T8" fmla="*/ 1656 w 1657"/>
                <a:gd name="T9" fmla="*/ 1667 h 1668"/>
              </a:gdLst>
              <a:ahLst/>
              <a:cxnLst>
                <a:cxn ang="0">
                  <a:pos x="T0" y="T1"/>
                </a:cxn>
                <a:cxn ang="0">
                  <a:pos x="T2" y="T3"/>
                </a:cxn>
                <a:cxn ang="0">
                  <a:pos x="T4" y="T5"/>
                </a:cxn>
                <a:cxn ang="0">
                  <a:pos x="T6" y="T7"/>
                </a:cxn>
                <a:cxn ang="0">
                  <a:pos x="T8" y="T9"/>
                </a:cxn>
              </a:cxnLst>
              <a:rect l="0" t="0" r="r" b="b"/>
              <a:pathLst>
                <a:path w="1657" h="1668">
                  <a:moveTo>
                    <a:pt x="1656" y="1667"/>
                  </a:moveTo>
                  <a:lnTo>
                    <a:pt x="0" y="1667"/>
                  </a:lnTo>
                  <a:lnTo>
                    <a:pt x="0" y="0"/>
                  </a:lnTo>
                  <a:lnTo>
                    <a:pt x="1656" y="0"/>
                  </a:lnTo>
                  <a:lnTo>
                    <a:pt x="1656" y="1667"/>
                  </a:lnTo>
                </a:path>
              </a:pathLst>
            </a:custGeom>
            <a:solidFill>
              <a:srgbClr val="FFC20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spTree>
    <p:extLst>
      <p:ext uri="{BB962C8B-B14F-4D97-AF65-F5344CB8AC3E}">
        <p14:creationId xmlns:p14="http://schemas.microsoft.com/office/powerpoint/2010/main" val="29887886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Dark Title_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12751" y="1188720"/>
            <a:ext cx="11310326"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144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27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470759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B9E93-35D7-42A9-9FD9-96BA380FFF27}"/>
              </a:ext>
            </a:extLst>
          </p:cNvPr>
          <p:cNvSpPr>
            <a:spLocks noGrp="1"/>
          </p:cNvSpPr>
          <p:nvPr>
            <p:ph type="ctrTitle"/>
          </p:nvPr>
        </p:nvSpPr>
        <p:spPr>
          <a:xfrm>
            <a:off x="1524000" y="1664644"/>
            <a:ext cx="9144000" cy="1845318"/>
          </a:xfrm>
        </p:spPr>
        <p:txBody>
          <a:bodyPr anchor="b"/>
          <a:lstStyle>
            <a:lvl1pPr algn="ctr">
              <a:defRPr sz="5995"/>
            </a:lvl1pPr>
          </a:lstStyle>
          <a:p>
            <a:r>
              <a:rPr lang="en-US"/>
              <a:t>Click to edit Master title style</a:t>
            </a:r>
          </a:p>
        </p:txBody>
      </p:sp>
      <p:sp>
        <p:nvSpPr>
          <p:cNvPr id="3" name="Subtitle 2">
            <a:extLst>
              <a:ext uri="{FF2B5EF4-FFF2-40B4-BE49-F238E27FC236}">
                <a16:creationId xmlns:a16="http://schemas.microsoft.com/office/drawing/2014/main" id="{CCB730EE-CF2C-4295-A0DD-070F51156EEE}"/>
              </a:ext>
            </a:extLst>
          </p:cNvPr>
          <p:cNvSpPr>
            <a:spLocks noGrp="1"/>
          </p:cNvSpPr>
          <p:nvPr>
            <p:ph type="subTitle" idx="1"/>
          </p:nvPr>
        </p:nvSpPr>
        <p:spPr>
          <a:xfrm>
            <a:off x="1524000" y="3602039"/>
            <a:ext cx="9144000" cy="369353"/>
          </a:xfrm>
        </p:spPr>
        <p:txBody>
          <a:bodyPr/>
          <a:lstStyle>
            <a:lvl1pPr marL="0" indent="0" algn="ctr">
              <a:buNone/>
              <a:defRPr sz="2400"/>
            </a:lvl1pPr>
            <a:lvl2pPr marL="456943" indent="0" algn="ctr">
              <a:buNone/>
              <a:defRPr sz="2000"/>
            </a:lvl2pPr>
            <a:lvl3pPr marL="913885" indent="0" algn="ctr">
              <a:buNone/>
              <a:defRPr sz="1800"/>
            </a:lvl3pPr>
            <a:lvl4pPr marL="1370827" indent="0" algn="ctr">
              <a:buNone/>
              <a:defRPr sz="1600"/>
            </a:lvl4pPr>
            <a:lvl5pPr marL="1827769" indent="0" algn="ctr">
              <a:buNone/>
              <a:defRPr sz="1600"/>
            </a:lvl5pPr>
            <a:lvl6pPr marL="2284710" indent="0" algn="ctr">
              <a:buNone/>
              <a:defRPr sz="1600"/>
            </a:lvl6pPr>
            <a:lvl7pPr marL="2741653" indent="0" algn="ctr">
              <a:buNone/>
              <a:defRPr sz="1600"/>
            </a:lvl7pPr>
            <a:lvl8pPr marL="3198595" indent="0" algn="ctr">
              <a:buNone/>
              <a:defRPr sz="1600"/>
            </a:lvl8pPr>
            <a:lvl9pPr marL="365553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F07D1-3B84-4514-968F-1FD65AFC4CAA}"/>
              </a:ext>
            </a:extLst>
          </p:cNvPr>
          <p:cNvSpPr>
            <a:spLocks noGrp="1"/>
          </p:cNvSpPr>
          <p:nvPr>
            <p:ph type="dt" sz="half" idx="10"/>
          </p:nvPr>
        </p:nvSpPr>
        <p:spPr/>
        <p:txBody>
          <a:bodyPr/>
          <a:lstStyle/>
          <a:p>
            <a:fld id="{CCEB13D1-EBBE-47BB-9DAE-539913719DED}" type="datetimeFigureOut">
              <a:rPr lang="en-US" smtClean="0"/>
              <a:t>3/29/2021</a:t>
            </a:fld>
            <a:endParaRPr lang="en-US"/>
          </a:p>
        </p:txBody>
      </p:sp>
      <p:sp>
        <p:nvSpPr>
          <p:cNvPr id="5" name="Footer Placeholder 4">
            <a:extLst>
              <a:ext uri="{FF2B5EF4-FFF2-40B4-BE49-F238E27FC236}">
                <a16:creationId xmlns:a16="http://schemas.microsoft.com/office/drawing/2014/main" id="{6905CE6B-6BDC-496F-8498-59A773D1B5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DD3A43-6632-4011-A3D3-C64540BAF3B9}"/>
              </a:ext>
            </a:extLst>
          </p:cNvPr>
          <p:cNvSpPr>
            <a:spLocks noGrp="1"/>
          </p:cNvSpPr>
          <p:nvPr>
            <p:ph type="sldNum" sz="quarter" idx="12"/>
          </p:nvPr>
        </p:nvSpPr>
        <p:spPr/>
        <p:txBody>
          <a:bodyPr/>
          <a:lstStyle/>
          <a:p>
            <a:fld id="{40CCAD98-6F6D-490C-A484-BDCA98790F2E}" type="slidenum">
              <a:rPr lang="en-US" smtClean="0"/>
              <a:t>‹#›</a:t>
            </a:fld>
            <a:endParaRPr lang="en-US"/>
          </a:p>
        </p:txBody>
      </p:sp>
    </p:spTree>
    <p:extLst>
      <p:ext uri="{BB962C8B-B14F-4D97-AF65-F5344CB8AC3E}">
        <p14:creationId xmlns:p14="http://schemas.microsoft.com/office/powerpoint/2010/main" val="131584310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80549004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81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4"/>
            <a:ext cx="11655840" cy="554061"/>
          </a:xfrm>
        </p:spPr>
        <p:txBody>
          <a:bodyPr/>
          <a:lstStyle/>
          <a:p>
            <a:r>
              <a:rPr lang="en-US"/>
              <a:t>Click to edit Master title style</a:t>
            </a:r>
          </a:p>
        </p:txBody>
      </p:sp>
      <p:sp>
        <p:nvSpPr>
          <p:cNvPr id="4" name="Text Placeholder 3"/>
          <p:cNvSpPr>
            <a:spLocks noGrp="1"/>
          </p:cNvSpPr>
          <p:nvPr>
            <p:ph type="body" sz="quarter" idx="10"/>
          </p:nvPr>
        </p:nvSpPr>
        <p:spPr>
          <a:xfrm>
            <a:off x="6106889" y="1507584"/>
            <a:ext cx="5818194" cy="1797412"/>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8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3EDD7-542E-4475-B823-F580C894DAF3}"/>
              </a:ext>
            </a:extLst>
          </p:cNvPr>
          <p:cNvSpPr>
            <a:spLocks noGrp="1"/>
          </p:cNvSpPr>
          <p:nvPr>
            <p:ph type="title"/>
          </p:nvPr>
        </p:nvSpPr>
        <p:spPr>
          <a:xfrm>
            <a:off x="831850" y="3639188"/>
            <a:ext cx="10515600" cy="923288"/>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CC602074-E0F9-4239-9EEB-6E5FF4511613}"/>
              </a:ext>
            </a:extLst>
          </p:cNvPr>
          <p:cNvSpPr>
            <a:spLocks noGrp="1"/>
          </p:cNvSpPr>
          <p:nvPr>
            <p:ph type="body" idx="1"/>
          </p:nvPr>
        </p:nvSpPr>
        <p:spPr>
          <a:xfrm>
            <a:off x="831850" y="4589464"/>
            <a:ext cx="10515600" cy="369353"/>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FF1F5FD-FAF7-4EE0-9E52-553221554A7C}"/>
              </a:ext>
            </a:extLst>
          </p:cNvPr>
          <p:cNvSpPr>
            <a:spLocks noGrp="1"/>
          </p:cNvSpPr>
          <p:nvPr>
            <p:ph type="dt" sz="half" idx="10"/>
          </p:nvPr>
        </p:nvSpPr>
        <p:spPr/>
        <p:txBody>
          <a:bodyPr/>
          <a:lstStyle/>
          <a:p>
            <a:fld id="{2289BF51-A98E-4AC0-AA72-40A7703287DF}" type="datetimeFigureOut">
              <a:rPr lang="en-US" smtClean="0"/>
              <a:t>3/29/2021</a:t>
            </a:fld>
            <a:endParaRPr lang="en-US"/>
          </a:p>
        </p:txBody>
      </p:sp>
      <p:sp>
        <p:nvSpPr>
          <p:cNvPr id="5" name="Footer Placeholder 4">
            <a:extLst>
              <a:ext uri="{FF2B5EF4-FFF2-40B4-BE49-F238E27FC236}">
                <a16:creationId xmlns:a16="http://schemas.microsoft.com/office/drawing/2014/main" id="{4AA85474-81D8-40D4-974E-309737F48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81C1F-D1AB-4656-9173-6E1FC88B772E}"/>
              </a:ext>
            </a:extLst>
          </p:cNvPr>
          <p:cNvSpPr>
            <a:spLocks noGrp="1"/>
          </p:cNvSpPr>
          <p:nvPr>
            <p:ph type="sldNum" sz="quarter" idx="12"/>
          </p:nvPr>
        </p:nvSpPr>
        <p:spPr/>
        <p:txBody>
          <a:bodyPr/>
          <a:lstStyle/>
          <a:p>
            <a:fld id="{766599BB-C14D-4533-A352-30149C5C5203}" type="slidenum">
              <a:rPr lang="en-US" smtClean="0"/>
              <a:t>‹#›</a:t>
            </a:fld>
            <a:endParaRPr lang="en-US"/>
          </a:p>
        </p:txBody>
      </p:sp>
    </p:spTree>
    <p:extLst>
      <p:ext uri="{BB962C8B-B14F-4D97-AF65-F5344CB8AC3E}">
        <p14:creationId xmlns:p14="http://schemas.microsoft.com/office/powerpoint/2010/main" val="136059278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49853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8744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8027519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1810499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9953029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99666148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23175109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22671711"/>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456418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022560436"/>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0189747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78233710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6899487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15748230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5854444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634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10558551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3848969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8927249"/>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87162172"/>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998787511"/>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5117197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10048297"/>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072679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554181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914423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0085983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21224685"/>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80221228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08738506"/>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9946285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279752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3333276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11073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572441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2BE17-E11C-4C33-ADDC-B7A4387D30B6}"/>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CD466293-AA28-4969-B44A-CBF4B74507C8}"/>
              </a:ext>
            </a:extLst>
          </p:cNvPr>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9EC935-A7FA-437F-A650-D42E7C6D9657}"/>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EEC20671-BCBF-4DFB-AAAB-9514B51CF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3134B2-65B8-4EED-9692-71495ADA4BFB}"/>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45812728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5E31-7CA0-43C1-8D99-A3EC6C5973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B0BBDF-BF3F-4258-8FD9-D92495C99DA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873FD8-2A7C-4AA8-9140-04DFDAC52D78}"/>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31FB7201-1758-4AEE-8FAA-89B082CB52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6E9FF5-C0AB-4BC2-B216-1DD6555E1FB8}"/>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1785394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7792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DC1EB-0898-452B-9A34-6E2BF85C7481}"/>
              </a:ext>
            </a:extLst>
          </p:cNvPr>
          <p:cNvSpPr>
            <a:spLocks noGrp="1"/>
          </p:cNvSpPr>
          <p:nvPr>
            <p:ph type="title"/>
          </p:nvPr>
        </p:nvSpPr>
        <p:spPr>
          <a:xfrm>
            <a:off x="831850" y="1709740"/>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37D0CF56-5F52-45B4-BA57-B944E783E525}"/>
              </a:ext>
            </a:extLst>
          </p:cNvPr>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D406DF-8E43-462B-BE84-B43C9A3F5456}"/>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CE9E382E-CA7B-4BD4-8503-DDAAA180F0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7C7CD8-FBA4-4B9D-8615-AAB7A10ABCD8}"/>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217320520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01875-C697-47B2-BF41-55BDF1905F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B9CA25-2567-408F-A54D-187FA6F38B6B}"/>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E38C1A-C70A-46C6-8DE4-8D3BCFAF9D9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787931-282E-44AA-8674-D567FA0168C9}"/>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6" name="Footer Placeholder 5">
            <a:extLst>
              <a:ext uri="{FF2B5EF4-FFF2-40B4-BE49-F238E27FC236}">
                <a16:creationId xmlns:a16="http://schemas.microsoft.com/office/drawing/2014/main" id="{B00344DA-A6E5-44BB-BAA1-19542E696B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2D1F1F-8D9B-4E11-ABF5-64EF1F215640}"/>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356389322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7724D-787F-4F37-9553-0839DEA27D9F}"/>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05DF98-FC0B-4D4A-9F9B-D7603782C6FD}"/>
              </a:ext>
            </a:extLst>
          </p:cNvPr>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9B7528-F79C-446C-B5BB-4391D0EA729F}"/>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96802E-0CDE-4CC8-93B6-E11F74D50707}"/>
              </a:ext>
            </a:extLst>
          </p:cNvPr>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435F278-7F80-48E7-928F-5C0CBDE9FF1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977EBC-5878-487C-A750-27FA760BDC5C}"/>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8" name="Footer Placeholder 7">
            <a:extLst>
              <a:ext uri="{FF2B5EF4-FFF2-40B4-BE49-F238E27FC236}">
                <a16:creationId xmlns:a16="http://schemas.microsoft.com/office/drawing/2014/main" id="{E706B9C0-95FF-4BC0-AA28-0A9EFB45B25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0655C5-27C6-48CA-9452-F7710BC53050}"/>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122648688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90AB9-18C2-42E1-9635-CCCDF44A752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BA68D1-58EE-47B3-9883-7829856C367B}"/>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4" name="Footer Placeholder 3">
            <a:extLst>
              <a:ext uri="{FF2B5EF4-FFF2-40B4-BE49-F238E27FC236}">
                <a16:creationId xmlns:a16="http://schemas.microsoft.com/office/drawing/2014/main" id="{CF181CE1-F04B-4EBB-A39B-19B8BD2263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F6B601-1F52-44FC-9FB5-7047A00991EB}"/>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610009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06D33E-8377-4534-A477-620853FE301B}"/>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3" name="Footer Placeholder 2">
            <a:extLst>
              <a:ext uri="{FF2B5EF4-FFF2-40B4-BE49-F238E27FC236}">
                <a16:creationId xmlns:a16="http://schemas.microsoft.com/office/drawing/2014/main" id="{20CA9C7E-7793-44E7-A5DB-B756229C35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D60394-76C7-4459-B463-2E43C62D48FF}"/>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316081170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F7CCC-52BD-498F-AA40-350B7C306449}"/>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CA2922AF-2AE1-4EA7-8844-D0B9E4A7E470}"/>
              </a:ext>
            </a:extLst>
          </p:cNvPr>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9D0D181-92B3-49C3-8778-3B619ABC3205}"/>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42483F-E349-428E-A7AF-21A98A51DDC4}"/>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6" name="Footer Placeholder 5">
            <a:extLst>
              <a:ext uri="{FF2B5EF4-FFF2-40B4-BE49-F238E27FC236}">
                <a16:creationId xmlns:a16="http://schemas.microsoft.com/office/drawing/2014/main" id="{F3E6B6EA-CDC1-41A2-9825-BFEA2F86D2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5D3EC5-524B-4CEB-9932-78E9D34A193D}"/>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323560225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B39B8-25D6-43F2-99F6-1BEDC27B48D9}"/>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4E7FC106-2FD0-4487-BCC0-CF5AFA5AD180}"/>
              </a:ext>
            </a:extLst>
          </p:cNvPr>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08C87C4A-D3EA-420D-9E8B-22ED1D93F7B0}"/>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AC3CCD-7FF8-4B57-8DF8-FBE3361490D9}"/>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6" name="Footer Placeholder 5">
            <a:extLst>
              <a:ext uri="{FF2B5EF4-FFF2-40B4-BE49-F238E27FC236}">
                <a16:creationId xmlns:a16="http://schemas.microsoft.com/office/drawing/2014/main" id="{4C576220-EA24-465B-AD26-E14F38F619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2AC3C7-431A-4BAA-BD01-E191AC145B78}"/>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276268444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33061-AF86-4DEF-BC2F-4FF6B28E767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93D20A5-F64C-41B5-BCE5-51B07CA78A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D97E64-CEF6-4B35-95B6-FF157ADDDD5A}"/>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0FF9CEC8-A1A0-4774-A5FC-4C2F264F4F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F1911-6B01-42EA-9F88-6BDC4B50107B}"/>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421180115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2AF373-1C2A-4AAB-9AF9-C86344944E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B6DE23B-7AD6-43E0-A1C5-6FC3343AD82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10A5C2-78FF-476F-BB26-CD8D2D27A0EB}"/>
              </a:ext>
            </a:extLst>
          </p:cNvPr>
          <p:cNvSpPr>
            <a:spLocks noGrp="1"/>
          </p:cNvSpPr>
          <p:nvPr>
            <p:ph type="dt" sz="half" idx="10"/>
          </p:nvPr>
        </p:nvSpPr>
        <p:spPr/>
        <p:txBody>
          <a:body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C8CFA9DC-C761-49D0-96B0-6D9723C321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2694EF-4D94-4A3D-A366-F462B96B4DCE}"/>
              </a:ext>
            </a:extLst>
          </p:cNvPr>
          <p:cNvSpPr>
            <a:spLocks noGrp="1"/>
          </p:cNvSpPr>
          <p:nvPr>
            <p:ph type="sldNum" sz="quarter" idx="12"/>
          </p:nvPr>
        </p:nvSpPr>
        <p:spPr/>
        <p:txBody>
          <a:bodyPr/>
          <a:lstStyle/>
          <a:p>
            <a:fld id="{33DECA40-E636-460B-A3A4-69F7B8BC940D}" type="slidenum">
              <a:rPr lang="en-US" smtClean="0"/>
              <a:t>‹#›</a:t>
            </a:fld>
            <a:endParaRPr lang="en-US"/>
          </a:p>
        </p:txBody>
      </p:sp>
    </p:spTree>
    <p:extLst>
      <p:ext uri="{BB962C8B-B14F-4D97-AF65-F5344CB8AC3E}">
        <p14:creationId xmlns:p14="http://schemas.microsoft.com/office/powerpoint/2010/main" val="416256850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2186401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529334070"/>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0206" y="223045"/>
            <a:ext cx="10515600" cy="1325563"/>
          </a:xfrm>
          <a:prstGeom prst="rect">
            <a:avLst/>
          </a:prstGeom>
        </p:spPr>
        <p:txBody>
          <a:bodyPr/>
          <a:lstStyle>
            <a:lvl1pPr>
              <a:defRPr>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55067375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380206" y="223045"/>
            <a:ext cx="10515600" cy="1325563"/>
          </a:xfrm>
          <a:prstGeom prst="rect">
            <a:avLst/>
          </a:prstGeom>
        </p:spPr>
        <p:txBody>
          <a:bodyPr/>
          <a:lstStyle>
            <a:lvl1pPr>
              <a:defRPr>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sz="quarter" idx="10"/>
          </p:nvPr>
        </p:nvSpPr>
        <p:spPr>
          <a:xfrm>
            <a:off x="584201"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0035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814023"/>
          </a:xfrm>
        </p:spPr>
        <p:txBody>
          <a:bodyPr wrap="square">
            <a:spAutoFit/>
          </a:bodyPr>
          <a:lstStyle>
            <a:lvl1pPr marL="0" indent="0">
              <a:spcBef>
                <a:spcPts val="1125"/>
              </a:spcBef>
              <a:buClr>
                <a:schemeClr val="tx1"/>
              </a:buClr>
              <a:buFont typeface="Wingdings" pitchFamily="2" charset="2"/>
              <a:buNone/>
              <a:defRPr sz="3307">
                <a:gradFill>
                  <a:gsLst>
                    <a:gs pos="1250">
                      <a:schemeClr val="tx2"/>
                    </a:gs>
                    <a:gs pos="99000">
                      <a:schemeClr val="tx2"/>
                    </a:gs>
                  </a:gsLst>
                  <a:lin ang="5400000" scaled="0"/>
                </a:gradFill>
              </a:defRPr>
            </a:lvl1pPr>
            <a:lvl2pPr marL="0" indent="0">
              <a:buNone/>
              <a:defRPr sz="1837"/>
            </a:lvl2pPr>
            <a:lvl3pPr marL="212944" indent="0">
              <a:buNone/>
              <a:tabLst/>
              <a:defRPr sz="1837"/>
            </a:lvl3pPr>
            <a:lvl4pPr marL="422972" indent="0">
              <a:buNone/>
              <a:defRPr/>
            </a:lvl4pPr>
            <a:lvl5pPr marL="63008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1814023"/>
          </a:xfrm>
        </p:spPr>
        <p:txBody>
          <a:bodyPr wrap="square">
            <a:spAutoFit/>
          </a:bodyPr>
          <a:lstStyle>
            <a:lvl1pPr marL="0" indent="0">
              <a:spcBef>
                <a:spcPts val="1125"/>
              </a:spcBef>
              <a:buClr>
                <a:schemeClr val="tx1"/>
              </a:buClr>
              <a:buFont typeface="Wingdings" pitchFamily="2" charset="2"/>
              <a:buNone/>
              <a:defRPr sz="3307">
                <a:gradFill>
                  <a:gsLst>
                    <a:gs pos="1250">
                      <a:schemeClr val="tx2"/>
                    </a:gs>
                    <a:gs pos="99000">
                      <a:schemeClr val="tx2"/>
                    </a:gs>
                  </a:gsLst>
                  <a:lin ang="5400000" scaled="0"/>
                </a:gradFill>
              </a:defRPr>
            </a:lvl1pPr>
            <a:lvl2pPr marL="0" indent="0">
              <a:buNone/>
              <a:defRPr sz="1837"/>
            </a:lvl2pPr>
            <a:lvl3pPr marL="212944" indent="0">
              <a:buNone/>
              <a:tabLst/>
              <a:defRPr sz="1837"/>
            </a:lvl3pPr>
            <a:lvl4pPr marL="422972" indent="0">
              <a:buNone/>
              <a:defRPr/>
            </a:lvl4pPr>
            <a:lvl5pPr marL="63008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08406029"/>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184396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706329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6"/>
              </a:lnSpc>
              <a:defRPr sz="2744" strike="noStrike">
                <a:solidFill>
                  <a:schemeClr val="tx1"/>
                </a:solidFill>
              </a:defRPr>
            </a:lvl1pPr>
          </a:lstStyle>
          <a:p>
            <a:r>
              <a:rPr lang="en-US"/>
              <a:t>Title</a:t>
            </a:r>
          </a:p>
        </p:txBody>
      </p:sp>
    </p:spTree>
    <p:extLst>
      <p:ext uri="{BB962C8B-B14F-4D97-AF65-F5344CB8AC3E}">
        <p14:creationId xmlns:p14="http://schemas.microsoft.com/office/powerpoint/2010/main" val="2442748725"/>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70" y="3065261"/>
            <a:ext cx="11311107" cy="727478"/>
          </a:xfrm>
        </p:spPr>
        <p:txBody>
          <a:bodyPr anchor="ctr" anchorCtr="0"/>
          <a:lstStyle>
            <a:lvl1pPr>
              <a:defRPr sz="4799"/>
            </a:lvl1pPr>
          </a:lstStyle>
          <a:p>
            <a:r>
              <a:rPr lang="en-US"/>
              <a:t>Click to edit Master title style</a:t>
            </a:r>
          </a:p>
        </p:txBody>
      </p:sp>
      <p:sp>
        <p:nvSpPr>
          <p:cNvPr id="65" name="Rectangle 64">
            <a:extLst>
              <a:ext uri="{FF2B5EF4-FFF2-40B4-BE49-F238E27FC236}">
                <a16:creationId xmlns:a16="http://schemas.microsoft.com/office/drawing/2014/main" id="{430998B1-F8DB-4C6F-8A97-8E62B6730763}"/>
              </a:ext>
            </a:extLst>
          </p:cNvPr>
          <p:cNvSpPr/>
          <p:nvPr userDrawn="1"/>
        </p:nvSpPr>
        <p:spPr>
          <a:xfrm>
            <a:off x="10023485" y="5943074"/>
            <a:ext cx="1863715" cy="758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30427632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itle_body">
    <p:spTree>
      <p:nvGrpSpPr>
        <p:cNvPr id="1" name=""/>
        <p:cNvGrpSpPr/>
        <p:nvPr/>
      </p:nvGrpSpPr>
      <p:grpSpPr>
        <a:xfrm>
          <a:off x="0" y="0"/>
          <a:ext cx="0" cy="0"/>
          <a:chOff x="0" y="0"/>
          <a:chExt cx="0" cy="0"/>
        </a:xfrm>
      </p:grpSpPr>
      <p:sp>
        <p:nvSpPr>
          <p:cNvPr id="2" name="Title 1"/>
          <p:cNvSpPr>
            <a:spLocks noGrp="1"/>
          </p:cNvSpPr>
          <p:nvPr>
            <p:ph type="title"/>
          </p:nvPr>
        </p:nvSpPr>
        <p:spPr>
          <a:xfrm>
            <a:off x="380206" y="223045"/>
            <a:ext cx="10515600" cy="1325563"/>
          </a:xfrm>
          <a:prstGeom prst="rect">
            <a:avLst/>
          </a:prstGeom>
        </p:spPr>
        <p:txBody>
          <a:bodyPr/>
          <a:lstStyle/>
          <a:p>
            <a:r>
              <a:rPr lang="en-US"/>
              <a:t>Click to edit Master title style</a:t>
            </a:r>
          </a:p>
        </p:txBody>
      </p:sp>
      <p:sp>
        <p:nvSpPr>
          <p:cNvPr id="5" name="Content Placeholder 4"/>
          <p:cNvSpPr>
            <a:spLocks noGrp="1"/>
          </p:cNvSpPr>
          <p:nvPr>
            <p:ph sz="quarter" idx="10"/>
          </p:nvPr>
        </p:nvSpPr>
        <p:spPr>
          <a:xfrm>
            <a:off x="412750" y="1188720"/>
            <a:ext cx="11310326" cy="46799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35004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0"/>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380206" y="22304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18889850"/>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330915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12910147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68448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7307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a:prstGeom prst="rect">
            <a:avLst/>
          </a:prstGeo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Tree>
    <p:extLst>
      <p:ext uri="{BB962C8B-B14F-4D97-AF65-F5344CB8AC3E}">
        <p14:creationId xmlns:p14="http://schemas.microsoft.com/office/powerpoint/2010/main" val="2422333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9" y="1447800"/>
            <a:ext cx="11151917" cy="4360863"/>
          </a:xfrm>
        </p:spPr>
        <p:txBody>
          <a:bodyPr/>
          <a:lstStyle>
            <a:lvl1pPr marL="0" indent="0">
              <a:spcBef>
                <a:spcPts val="1200"/>
              </a:spcBef>
              <a:buSzPct val="90000"/>
              <a:buNone/>
              <a:defRPr lang="en-US" sz="31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293" indent="-233293">
              <a:spcBef>
                <a:spcPts val="600"/>
              </a:spcBef>
              <a:buSzPct val="100000"/>
              <a:buFont typeface="Arial" panose="020B0604020202020204" pitchFamily="34" charset="0"/>
              <a:buChar char="•"/>
              <a:defRPr baseline="0"/>
            </a:lvl2pPr>
            <a:lvl3pPr marL="461824" indent="-225357">
              <a:spcBef>
                <a:spcPts val="600"/>
              </a:spcBef>
              <a:buSzPct val="75000"/>
              <a:buFont typeface="Courier New" panose="02070309020205020404" pitchFamily="49" charset="0"/>
              <a:buChar char="o"/>
              <a:tabLst>
                <a:tab pos="461824" algn="l"/>
              </a:tabLst>
              <a:defRPr baseline="0"/>
            </a:lvl3pPr>
            <a:lvl4pPr marL="684008" indent="-231705">
              <a:spcBef>
                <a:spcPts val="600"/>
              </a:spcBef>
              <a:buFont typeface="Wingdings" panose="05000000000000000000" pitchFamily="2" charset="2"/>
              <a:buChar char="§"/>
              <a:defRPr baseline="0"/>
            </a:lvl4pPr>
            <a:lvl5pPr marL="914126" indent="-225357">
              <a:spcBef>
                <a:spcPts val="600"/>
              </a:spcBef>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89351167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rgbClr val="3899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1288473"/>
            <a:ext cx="11151917" cy="4281056"/>
          </a:xfrm>
        </p:spPr>
        <p:txBody>
          <a:bodyPr anchor="ctr" anchorCtr="0"/>
          <a:lstStyle>
            <a:lvl1pPr>
              <a:defRPr sz="8797"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736628271"/>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2C9BF1-9FAD-4514-971B-87B9D7417D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705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5"/>
            <a:ext cx="11655840" cy="554061"/>
          </a:xfrm>
        </p:spPr>
        <p:txBody>
          <a:bodyPr/>
          <a:lstStyle/>
          <a:p>
            <a:r>
              <a:rPr lang="en-US"/>
              <a:t>Click to edit Master title style</a:t>
            </a:r>
          </a:p>
        </p:txBody>
      </p:sp>
      <p:sp>
        <p:nvSpPr>
          <p:cNvPr id="4" name="Text Placeholder 3"/>
          <p:cNvSpPr>
            <a:spLocks noGrp="1"/>
          </p:cNvSpPr>
          <p:nvPr>
            <p:ph type="body" sz="quarter" idx="10"/>
          </p:nvPr>
        </p:nvSpPr>
        <p:spPr>
          <a:xfrm>
            <a:off x="6106890" y="1507584"/>
            <a:ext cx="5818194" cy="1797412"/>
          </a:xfrm>
        </p:spPr>
        <p:txBody>
          <a:bodyPr wrap="square">
            <a:spAutoFit/>
          </a:bodyPr>
          <a:lstStyle>
            <a:lvl1pPr marL="0" indent="0">
              <a:buNone/>
              <a:defRPr sz="2799">
                <a:solidFill>
                  <a:schemeClr val="tx1"/>
                </a:solidFill>
              </a:defRPr>
            </a:lvl1pPr>
            <a:lvl2pPr marL="0" indent="0">
              <a:buNone/>
              <a:defRPr sz="1999"/>
            </a:lvl2pPr>
            <a:lvl3pPr marL="0" indent="0">
              <a:buNone/>
              <a:defRPr sz="1799"/>
            </a:lvl3pPr>
            <a:lvl4pPr marL="0" indent="0">
              <a:buNone/>
              <a:defRPr sz="1799"/>
            </a:lvl4pPr>
            <a:lvl5pPr marL="0" indent="0">
              <a:buNone/>
              <a:defRPr sz="17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75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6"/>
            <a:ext cx="11655840" cy="554061"/>
          </a:xfrm>
        </p:spPr>
        <p:txBody>
          <a:bodyPr/>
          <a:lstStyle/>
          <a:p>
            <a:r>
              <a:rPr lang="en-US"/>
              <a:t>Click to edit Master title style</a:t>
            </a:r>
          </a:p>
        </p:txBody>
      </p:sp>
      <p:sp>
        <p:nvSpPr>
          <p:cNvPr id="4" name="Text Placeholder 3"/>
          <p:cNvSpPr>
            <a:spLocks noGrp="1"/>
          </p:cNvSpPr>
          <p:nvPr>
            <p:ph type="body" sz="quarter" idx="10"/>
          </p:nvPr>
        </p:nvSpPr>
        <p:spPr>
          <a:xfrm>
            <a:off x="6106891" y="1507584"/>
            <a:ext cx="5818194" cy="1821428"/>
          </a:xfrm>
        </p:spPr>
        <p:txBody>
          <a:bodyPr wrap="square">
            <a:spAutoFit/>
          </a:bodyPr>
          <a:lstStyle>
            <a:lvl1pPr marL="0" indent="0">
              <a:buNone/>
              <a:defRPr sz="2799">
                <a:solidFill>
                  <a:schemeClr val="tx1"/>
                </a:solidFill>
              </a:defRPr>
            </a:lvl1pPr>
            <a:lvl2pPr marL="0" indent="0">
              <a:buNone/>
              <a:defRPr sz="1999"/>
            </a:lvl2pPr>
            <a:lvl3pPr marL="0" indent="0">
              <a:buNone/>
              <a:defRPr sz="1799"/>
            </a:lvl3pPr>
            <a:lvl4pPr marL="0" indent="0">
              <a:buNone/>
              <a:defRPr sz="1799"/>
            </a:lvl4pPr>
            <a:lvl5pPr marL="0" indent="0">
              <a:buNone/>
              <a:defRPr sz="17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97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650"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41569055"/>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1"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1"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650"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8"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7"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8915023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8"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4"/>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4"/>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650"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6944610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7C8CCE7A-BCD5-4553-982D-B31471E763A1}"/>
              </a:ext>
            </a:extLst>
          </p:cNvPr>
          <p:cNvSpPr/>
          <p:nvPr userDrawn="1"/>
        </p:nvSpPr>
        <p:spPr bwMode="auto">
          <a:xfrm>
            <a:off x="1811" y="1497017"/>
            <a:ext cx="12190271" cy="5407256"/>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79625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791101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Two people sitting at a table using a computer.&#10;&#10;Description automatically generated">
            <a:extLst>
              <a:ext uri="{FF2B5EF4-FFF2-40B4-BE49-F238E27FC236}">
                <a16:creationId xmlns:a16="http://schemas.microsoft.com/office/drawing/2014/main" id="{F9A7CF8A-30D6-48AA-AAA3-9F874DD701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92277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3320378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588578"/>
            <a:ext cx="2758252" cy="1661993"/>
          </a:xfrm>
        </p:spPr>
        <p:txBody>
          <a:bodyPr anchor="ctr"/>
          <a:lstStyle/>
          <a:p>
            <a:r>
              <a:rPr lang="en-US"/>
              <a:t>Click to edit Master title style</a:t>
            </a:r>
          </a:p>
        </p:txBody>
      </p:sp>
      <p:sp>
        <p:nvSpPr>
          <p:cNvPr id="4" name="Picture Placeholder 3">
            <a:extLst>
              <a:ext uri="{FF2B5EF4-FFF2-40B4-BE49-F238E27FC236}">
                <a16:creationId xmlns:a16="http://schemas.microsoft.com/office/drawing/2014/main" id="{69E6C570-0F19-4712-82A5-4C9EF67D81F2}"/>
              </a:ext>
            </a:extLst>
          </p:cNvPr>
          <p:cNvSpPr>
            <a:spLocks noGrp="1"/>
          </p:cNvSpPr>
          <p:nvPr>
            <p:ph type="pic" sz="quarter" idx="10"/>
          </p:nvPr>
        </p:nvSpPr>
        <p:spPr>
          <a:xfrm>
            <a:off x="3822104" y="0"/>
            <a:ext cx="2103120" cy="6858000"/>
          </a:xfrm>
        </p:spPr>
        <p:txBody>
          <a:bodyPr/>
          <a:lstStyle/>
          <a:p>
            <a:endParaRPr lang="en-US"/>
          </a:p>
        </p:txBody>
      </p:sp>
      <p:sp>
        <p:nvSpPr>
          <p:cNvPr id="5" name="Picture Placeholder 3">
            <a:extLst>
              <a:ext uri="{FF2B5EF4-FFF2-40B4-BE49-F238E27FC236}">
                <a16:creationId xmlns:a16="http://schemas.microsoft.com/office/drawing/2014/main" id="{4EEDDCD4-532A-4DFE-AB08-03B684B30DF7}"/>
              </a:ext>
            </a:extLst>
          </p:cNvPr>
          <p:cNvSpPr>
            <a:spLocks noGrp="1"/>
          </p:cNvSpPr>
          <p:nvPr>
            <p:ph type="pic" sz="quarter" idx="11"/>
          </p:nvPr>
        </p:nvSpPr>
        <p:spPr>
          <a:xfrm>
            <a:off x="5911029" y="0"/>
            <a:ext cx="2103120" cy="6858000"/>
          </a:xfrm>
        </p:spPr>
        <p:txBody>
          <a:bodyPr/>
          <a:lstStyle/>
          <a:p>
            <a:endParaRPr lang="en-US"/>
          </a:p>
        </p:txBody>
      </p:sp>
      <p:sp>
        <p:nvSpPr>
          <p:cNvPr id="6" name="Picture Placeholder 3">
            <a:extLst>
              <a:ext uri="{FF2B5EF4-FFF2-40B4-BE49-F238E27FC236}">
                <a16:creationId xmlns:a16="http://schemas.microsoft.com/office/drawing/2014/main" id="{DE6584E7-439C-4582-9308-222EE3D0D1A4}"/>
              </a:ext>
            </a:extLst>
          </p:cNvPr>
          <p:cNvSpPr>
            <a:spLocks noGrp="1"/>
          </p:cNvSpPr>
          <p:nvPr>
            <p:ph type="pic" sz="quarter" idx="12"/>
          </p:nvPr>
        </p:nvSpPr>
        <p:spPr>
          <a:xfrm>
            <a:off x="7999954" y="0"/>
            <a:ext cx="2103120" cy="6858000"/>
          </a:xfrm>
        </p:spPr>
        <p:txBody>
          <a:bodyPr/>
          <a:lstStyle/>
          <a:p>
            <a:endParaRPr lang="en-US"/>
          </a:p>
        </p:txBody>
      </p:sp>
      <p:sp>
        <p:nvSpPr>
          <p:cNvPr id="7" name="Picture Placeholder 3">
            <a:extLst>
              <a:ext uri="{FF2B5EF4-FFF2-40B4-BE49-F238E27FC236}">
                <a16:creationId xmlns:a16="http://schemas.microsoft.com/office/drawing/2014/main" id="{000C5620-54BA-4992-9CD0-782792ED57DE}"/>
              </a:ext>
            </a:extLst>
          </p:cNvPr>
          <p:cNvSpPr>
            <a:spLocks noGrp="1"/>
          </p:cNvSpPr>
          <p:nvPr>
            <p:ph type="pic" sz="quarter" idx="13"/>
          </p:nvPr>
        </p:nvSpPr>
        <p:spPr>
          <a:xfrm>
            <a:off x="10088880" y="0"/>
            <a:ext cx="2103120" cy="6858000"/>
          </a:xfrm>
        </p:spPr>
        <p:txBody>
          <a:bodyPr/>
          <a:lstStyle/>
          <a:p>
            <a:endParaRPr lang="en-US"/>
          </a:p>
        </p:txBody>
      </p:sp>
    </p:spTree>
    <p:extLst>
      <p:ext uri="{BB962C8B-B14F-4D97-AF65-F5344CB8AC3E}">
        <p14:creationId xmlns:p14="http://schemas.microsoft.com/office/powerpoint/2010/main" val="3217372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_Title and text side by side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8E42CB2-E70E-4BFD-96AD-F1D9BAEB730D}"/>
              </a:ext>
            </a:extLst>
          </p:cNvPr>
          <p:cNvSpPr>
            <a:spLocks noGrp="1"/>
          </p:cNvSpPr>
          <p:nvPr>
            <p:ph type="body" sz="quarter" idx="10"/>
          </p:nvPr>
        </p:nvSpPr>
        <p:spPr>
          <a:xfrm>
            <a:off x="1331174" y="2809967"/>
            <a:ext cx="3771900" cy="2028248"/>
          </a:xfrm>
        </p:spPr>
        <p:txBody>
          <a:bodyPr/>
          <a:lstStyle>
            <a:lvl1pPr marL="0" indent="0">
              <a:spcAft>
                <a:spcPts val="600"/>
              </a:spcAft>
              <a:buNone/>
              <a:defRPr sz="2399">
                <a:solidFill>
                  <a:schemeClr val="accent1"/>
                </a:solidFill>
              </a:defRPr>
            </a:lvl1pPr>
            <a:lvl2pPr marL="0" indent="0">
              <a:spcAft>
                <a:spcPts val="600"/>
              </a:spcAft>
              <a:buNone/>
              <a:defRPr/>
            </a:lvl2pPr>
            <a:lvl3pPr marL="0" indent="0">
              <a:spcBef>
                <a:spcPts val="1200"/>
              </a:spcBef>
              <a:buNone/>
              <a:defRPr lang="en-US" sz="2399" b="1" kern="1200" spc="0" baseline="0" dirty="0" smtClean="0">
                <a:solidFill>
                  <a:schemeClr val="accent1"/>
                </a:solidFill>
                <a:latin typeface="+mn-lt"/>
                <a:ea typeface="+mn-ea"/>
                <a:cs typeface="Segoe UI" panose="020B0502040204020203" pitchFamily="34" charset="0"/>
              </a:defRPr>
            </a:lvl3pPr>
            <a:lvl4pPr marL="0" indent="0">
              <a:spcBef>
                <a:spcPts val="0"/>
              </a:spcBef>
              <a:spcAft>
                <a:spcPts val="600"/>
              </a:spcAft>
              <a:buNone/>
              <a:defRPr sz="1799"/>
            </a:lvl4pPr>
            <a:lvl5pPr marL="0" indent="0">
              <a:buFont typeface="Arial" panose="020B0604020202020204" pitchFamily="34" charse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6301D61-2B9F-4AD6-9DDB-B65BAB719A73}"/>
              </a:ext>
            </a:extLst>
          </p:cNvPr>
          <p:cNvSpPr>
            <a:spLocks noGrp="1"/>
          </p:cNvSpPr>
          <p:nvPr>
            <p:ph type="title"/>
          </p:nvPr>
        </p:nvSpPr>
        <p:spPr/>
        <p:txBody>
          <a:bodyPr/>
          <a:lstStyle/>
          <a:p>
            <a:r>
              <a:rPr lang="en-US"/>
              <a:t>Click to edit Master title style</a:t>
            </a:r>
          </a:p>
        </p:txBody>
      </p:sp>
      <p:sp>
        <p:nvSpPr>
          <p:cNvPr id="4" name="Text Placeholder 4">
            <a:extLst>
              <a:ext uri="{FF2B5EF4-FFF2-40B4-BE49-F238E27FC236}">
                <a16:creationId xmlns:a16="http://schemas.microsoft.com/office/drawing/2014/main" id="{72C242E3-C01A-4A68-9490-E02607BC9601}"/>
              </a:ext>
            </a:extLst>
          </p:cNvPr>
          <p:cNvSpPr>
            <a:spLocks noGrp="1"/>
          </p:cNvSpPr>
          <p:nvPr>
            <p:ph type="body" sz="quarter" idx="11"/>
          </p:nvPr>
        </p:nvSpPr>
        <p:spPr>
          <a:xfrm>
            <a:off x="6405450" y="2809967"/>
            <a:ext cx="3771900" cy="2028248"/>
          </a:xfrm>
        </p:spPr>
        <p:txBody>
          <a:bodyPr/>
          <a:lstStyle>
            <a:lvl1pPr marL="0" indent="0">
              <a:spcAft>
                <a:spcPts val="600"/>
              </a:spcAft>
              <a:buNone/>
              <a:defRPr sz="2399">
                <a:solidFill>
                  <a:schemeClr val="accent1"/>
                </a:solidFill>
              </a:defRPr>
            </a:lvl1pPr>
            <a:lvl2pPr marL="0" indent="0">
              <a:spcAft>
                <a:spcPts val="600"/>
              </a:spcAft>
              <a:buNone/>
              <a:defRPr/>
            </a:lvl2pPr>
            <a:lvl3pPr marL="0" indent="0">
              <a:spcBef>
                <a:spcPts val="1200"/>
              </a:spcBef>
              <a:buNone/>
              <a:defRPr lang="en-US" sz="2399" b="1" kern="1200" spc="0" baseline="0" dirty="0" smtClean="0">
                <a:solidFill>
                  <a:schemeClr val="accent1"/>
                </a:solidFill>
                <a:latin typeface="+mn-lt"/>
                <a:ea typeface="+mn-ea"/>
                <a:cs typeface="Segoe UI" panose="020B0502040204020203" pitchFamily="34" charset="0"/>
              </a:defRPr>
            </a:lvl3pPr>
            <a:lvl4pPr marL="0" indent="0">
              <a:spcBef>
                <a:spcPts val="0"/>
              </a:spcBef>
              <a:spcAft>
                <a:spcPts val="600"/>
              </a:spcAft>
              <a:buNone/>
              <a:defRPr sz="1799"/>
            </a:lvl4pPr>
            <a:lvl5pPr marL="0" indent="0">
              <a:buFont typeface="Arial" panose="020B0604020202020204" pitchFamily="34" charse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40801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34952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62228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93725997"/>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608620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7"/>
            <a:ext cx="5583404" cy="6409831"/>
          </a:xfrm>
          <a:prstGeom prst="rect">
            <a:avLst/>
          </a:prstGeom>
        </p:spPr>
      </p:pic>
    </p:spTree>
    <p:extLst>
      <p:ext uri="{BB962C8B-B14F-4D97-AF65-F5344CB8AC3E}">
        <p14:creationId xmlns:p14="http://schemas.microsoft.com/office/powerpoint/2010/main" val="374015688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1"/>
            <a:ext cx="5413537" cy="6214821"/>
          </a:xfrm>
          <a:prstGeom prst="rect">
            <a:avLst/>
          </a:prstGeom>
        </p:spPr>
      </p:pic>
    </p:spTree>
    <p:extLst>
      <p:ext uri="{BB962C8B-B14F-4D97-AF65-F5344CB8AC3E}">
        <p14:creationId xmlns:p14="http://schemas.microsoft.com/office/powerpoint/2010/main" val="118122385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869465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sitting at a table using a computer.&#10;&#10;Description automatically generated">
            <a:extLst>
              <a:ext uri="{FF2B5EF4-FFF2-40B4-BE49-F238E27FC236}">
                <a16:creationId xmlns:a16="http://schemas.microsoft.com/office/drawing/2014/main" id="{EF611E5D-50E2-478F-8A1D-7D2ACFE348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3265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414195672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61275939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2285411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52807960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18131505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5"/>
            <a:ext cx="3618381" cy="899665"/>
          </a:xfrm>
          <a:prstGeom prst="rect">
            <a:avLst/>
          </a:prstGeom>
        </p:spPr>
        <p:txBody>
          <a:bodyPr lIns="0" tIns="0" rIns="0" bIns="0"/>
          <a:lstStyle>
            <a:lvl1pPr>
              <a:defRPr sz="1764"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178">
              <a:spcAft>
                <a:spcPts val="490"/>
              </a:spcAft>
              <a:buNone/>
              <a:defRPr sz="1764" spc="0" baseline="0">
                <a:solidFill>
                  <a:schemeClr val="tx2"/>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178">
              <a:spcAft>
                <a:spcPts val="490"/>
              </a:spcAft>
              <a:buNone/>
              <a:defRPr sz="1764" spc="0" baseline="0">
                <a:solidFill>
                  <a:srgbClr val="000000"/>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444703430"/>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287771"/>
          </a:xfrm>
          <a:prstGeom prst="rect">
            <a:avLst/>
          </a:prstGeom>
        </p:spPr>
        <p:txBody>
          <a:bodyPr wrap="square" lIns="0" tIns="0" rIns="0" bIns="0">
            <a:spAutoFit/>
          </a:bodyPr>
          <a:lstStyle>
            <a:lvl1pPr marL="0" indent="0">
              <a:lnSpc>
                <a:spcPts val="2352"/>
              </a:lnSpc>
              <a:buNone/>
              <a:defRPr sz="1960" b="0" i="0" spc="0">
                <a:solidFill>
                  <a:srgbClr val="000000"/>
                </a:solidFill>
                <a:latin typeface="+mj-lt"/>
              </a:defRPr>
            </a:lvl1pPr>
            <a:lvl2pPr marL="0" indent="0">
              <a:lnSpc>
                <a:spcPts val="2352"/>
              </a:lnSpc>
              <a:buNone/>
              <a:defRPr spc="0">
                <a:solidFill>
                  <a:srgbClr val="000000"/>
                </a:solidFill>
                <a:latin typeface="+mn-lt"/>
              </a:defRPr>
            </a:lvl2pPr>
            <a:lvl3pPr marL="448059" indent="0">
              <a:buNone/>
              <a:defRPr/>
            </a:lvl3pPr>
            <a:lvl4pPr marL="672088" indent="0">
              <a:buNone/>
              <a:defRPr/>
            </a:lvl4pPr>
            <a:lvl5pPr marL="89611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rgbClr val="000000"/>
                </a:solidFill>
              </a:defRPr>
            </a:lvl2pPr>
            <a:lvl3pPr marL="448059" indent="0">
              <a:buNone/>
              <a:defRPr/>
            </a:lvl3pPr>
            <a:lvl4pPr marL="672088" indent="0">
              <a:buNone/>
              <a:defRPr/>
            </a:lvl4pPr>
            <a:lvl5pPr marL="89611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59" indent="0">
              <a:buNone/>
              <a:defRPr/>
            </a:lvl3pPr>
            <a:lvl4pPr marL="67208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Medium: body copy Segoe UI Regular 14/18</a:t>
            </a:r>
          </a:p>
        </p:txBody>
      </p:sp>
    </p:spTree>
    <p:extLst>
      <p:ext uri="{BB962C8B-B14F-4D97-AF65-F5344CB8AC3E}">
        <p14:creationId xmlns:p14="http://schemas.microsoft.com/office/powerpoint/2010/main" val="1975628411"/>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7"/>
            <a:ext cx="9384447" cy="3365537"/>
          </a:xfrm>
          <a:prstGeom prst="rect">
            <a:avLst/>
          </a:prstGeom>
        </p:spPr>
        <p:txBody>
          <a:bodyPr wrap="square" lIns="0" tIns="0" rIns="0" bIns="0">
            <a:spAutoFit/>
          </a:bodyPr>
          <a:lstStyle>
            <a:lvl1pPr marL="336044" marR="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722503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7"/>
            <a:ext cx="9384447" cy="603538"/>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5158400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2723830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87105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4"/>
            <a:ext cx="3609417" cy="3108047"/>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2"/>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3"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8999323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1"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1"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8"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7"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68186422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336353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3719040252"/>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690122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48431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30"/>
            <a:ext cx="5541959" cy="403137"/>
          </a:xfrm>
          <a:prstGeom prst="rect">
            <a:avLst/>
          </a:prstGeom>
        </p:spPr>
        <p:txBody>
          <a:bodyPr wrap="square" lIns="0" tIns="0" rIns="0" bIns="0">
            <a:spAutoFit/>
          </a:bodyPr>
          <a:lstStyle>
            <a:lvl1pPr>
              <a:lnSpc>
                <a:spcPts val="3136"/>
              </a:lnSpc>
              <a:defRPr sz="2744"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7"/>
            <a:ext cx="4822951" cy="287771"/>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7"/>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5"/>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8453572"/>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8"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4"/>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4"/>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42855576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a:prstGeom prst="rect">
            <a:avLst/>
          </a:prstGeom>
        </p:spPr>
        <p:txBody>
          <a:bodyPr wrap="square" lIns="0" tIns="0" rIns="0" bIns="0">
            <a:spAutoFit/>
          </a:bodyPr>
          <a:lstStyle>
            <a:lvl1pPr marL="0" indent="0">
              <a:lnSpc>
                <a:spcPts val="2352"/>
              </a:lnSpc>
              <a:buNone/>
              <a:defRPr sz="1960" b="0" i="0">
                <a:solidFill>
                  <a:srgbClr val="000000"/>
                </a:solidFill>
                <a:latin typeface="+mn-lt"/>
              </a:defRPr>
            </a:lvl1pPr>
            <a:lvl2pPr marL="224030" indent="0">
              <a:buNone/>
              <a:defRPr/>
            </a:lvl2pPr>
            <a:lvl3pPr marL="448059" indent="0">
              <a:buNone/>
              <a:defRPr/>
            </a:lvl3pPr>
            <a:lvl4pPr marL="672088" indent="0">
              <a:buNone/>
              <a:defRPr/>
            </a:lvl4pPr>
            <a:lvl5pPr marL="89611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3512211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1478134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896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9"/>
            <a:ext cx="10869930" cy="6371053"/>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90039"/>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71316028"/>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2"/>
            <a:ext cx="361837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093"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059" indent="0">
              <a:buNone/>
              <a:defRPr/>
            </a:lvl3pPr>
            <a:lvl4pPr marL="672088" indent="0">
              <a:buNone/>
              <a:defRPr/>
            </a:lvl4pPr>
            <a:lvl5pPr marL="89611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2"/>
            <a:ext cx="360748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2"/>
            <a:ext cx="3623051"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045990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4"/>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4108093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85548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880398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userDrawn="1">
  <p:cSld name="Lis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32675" y="2374765"/>
            <a:ext cx="6739325" cy="2227147"/>
            <a:chOff x="8223066" y="6182286"/>
            <a:chExt cx="12807252" cy="4231311"/>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99613" y="6182286"/>
              <a:ext cx="10509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23066" y="6837393"/>
              <a:ext cx="1373886"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99613" y="7633852"/>
              <a:ext cx="1050978"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23069" y="8332857"/>
              <a:ext cx="1373886" cy="8011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a:t>
            </a:r>
          </a:p>
        </p:txBody>
      </p:sp>
      <p:sp>
        <p:nvSpPr>
          <p:cNvPr id="50" name="Text Placeholder 6">
            <a:extLst>
              <a:ext uri="{FF2B5EF4-FFF2-40B4-BE49-F238E27FC236}">
                <a16:creationId xmlns:a16="http://schemas.microsoft.com/office/drawing/2014/main" id="{F02C43B8-DD0F-C048-9F6E-784256D487F9}"/>
              </a:ext>
            </a:extLst>
          </p:cNvPr>
          <p:cNvSpPr>
            <a:spLocks noGrp="1"/>
          </p:cNvSpPr>
          <p:nvPr>
            <p:ph type="body" sz="quarter" idx="10" hasCustomPrompt="1"/>
          </p:nvPr>
        </p:nvSpPr>
        <p:spPr>
          <a:xfrm>
            <a:off x="574245" y="2019300"/>
            <a:ext cx="11038167" cy="1877437"/>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ulleted list, 20-24pt</a:t>
            </a:r>
          </a:p>
          <a:p>
            <a:pPr lvl="0"/>
            <a:r>
              <a:rPr lang="en-US"/>
              <a:t>Bulleted list, 20-24pt</a:t>
            </a:r>
          </a:p>
          <a:p>
            <a:pPr lvl="0"/>
            <a:r>
              <a:rPr lang="en-US"/>
              <a:t>Bulleted list, 20-24pt</a:t>
            </a:r>
          </a:p>
          <a:p>
            <a:pPr lvl="0"/>
            <a:endParaRPr lang="en-US"/>
          </a:p>
        </p:txBody>
      </p:sp>
    </p:spTree>
    <p:extLst>
      <p:ext uri="{BB962C8B-B14F-4D97-AF65-F5344CB8AC3E}">
        <p14:creationId xmlns:p14="http://schemas.microsoft.com/office/powerpoint/2010/main" val="2217210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818380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4018794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348098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110912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2433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1963878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105199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0839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39701317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4321968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3496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05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50274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183744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5104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159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62528970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9318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121126592"/>
      </p:ext>
    </p:extLst>
  </p:cSld>
  <p:clrMapOvr>
    <a:masterClrMapping/>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391998"/>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36982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10350397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605461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1426106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180871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54072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335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3100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6005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82828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2415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87562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2432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45004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76964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089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359771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962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53796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12878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9052934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516998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068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33860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41082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02722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9808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8714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30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85895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89428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83361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29250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43691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9611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0545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543346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5018261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5108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46127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85431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836169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408222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42871693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3983923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802100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9562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56025489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2126256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5543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30584523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0631905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533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010496"/>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556375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57637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534471"/>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47526410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9752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41880486"/>
      </p:ext>
    </p:extLst>
  </p:cSld>
  <p:clrMapOvr>
    <a:masterClrMapping/>
  </p:clrMapOvr>
  <p:transition>
    <p:fade/>
  </p:transition>
  <p:hf hdr="0" ftr="0" dt="0"/>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61569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419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045415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09522393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3045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4155311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78004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6860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553501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388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195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0654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270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3223771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0572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0724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13563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7317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371799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15852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34832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4414613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925657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6187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56306700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05140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60384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541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27646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0609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0362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27368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96940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3892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73686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95608810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666465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0315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52136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07373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47311840"/>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7463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4030414333"/>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66652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A1DB2018-D351-4E93-97E1-244D6E394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7230411"/>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05542" y="96568"/>
            <a:ext cx="5583404" cy="6409831"/>
          </a:xfrm>
          <a:prstGeom prst="rect">
            <a:avLst/>
          </a:prstGeom>
        </p:spPr>
      </p:pic>
    </p:spTree>
    <p:extLst>
      <p:ext uri="{BB962C8B-B14F-4D97-AF65-F5344CB8AC3E}">
        <p14:creationId xmlns:p14="http://schemas.microsoft.com/office/powerpoint/2010/main" val="408108850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356037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
        <p:nvSpPr>
          <p:cNvPr id="2" name="TextBox 1">
            <a:extLst>
              <a:ext uri="{FF2B5EF4-FFF2-40B4-BE49-F238E27FC236}">
                <a16:creationId xmlns:a16="http://schemas.microsoft.com/office/drawing/2014/main" id="{202B95C2-531E-4F36-ABBC-DD67383CDAC9}"/>
              </a:ext>
            </a:extLst>
          </p:cNvPr>
          <p:cNvSpPr txBox="1"/>
          <p:nvPr userDrawn="1"/>
        </p:nvSpPr>
        <p:spPr>
          <a:xfrm>
            <a:off x="10553701" y="34930"/>
            <a:ext cx="1557337" cy="627864"/>
          </a:xfrm>
          <a:prstGeom prst="rect">
            <a:avLst/>
          </a:prstGeom>
          <a:solidFill>
            <a:schemeClr val="bg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72203177"/>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2" name="TextBox 1">
            <a:extLst>
              <a:ext uri="{FF2B5EF4-FFF2-40B4-BE49-F238E27FC236}">
                <a16:creationId xmlns:a16="http://schemas.microsoft.com/office/drawing/2014/main" id="{D4DE672F-FA30-45B6-8B9F-8216211D17C7}"/>
              </a:ext>
            </a:extLst>
          </p:cNvPr>
          <p:cNvSpPr txBox="1"/>
          <p:nvPr userDrawn="1"/>
        </p:nvSpPr>
        <p:spPr>
          <a:xfrm>
            <a:off x="10553701" y="34930"/>
            <a:ext cx="1557337"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0977208"/>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63050400"/>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448885928"/>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200712749"/>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a:xfrm>
            <a:off x="455994" y="1817559"/>
            <a:ext cx="1123176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16D04B4B-B8F2-47D4-850E-16491285F9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23789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397098"/>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4856089"/>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418315"/>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8034200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96612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1674906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3200">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70702683"/>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09192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60505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746269"/>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09094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0206" y="223043"/>
            <a:ext cx="10515600" cy="1325563"/>
          </a:xfrm>
          <a:prstGeom prst="rect">
            <a:avLst/>
          </a:prstGeom>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2201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553998"/>
          </a:xfrm>
          <a:prstGeom prst="rect">
            <a:avLst/>
          </a:prstGeom>
        </p:spPr>
        <p:txBody>
          <a:bodyPr/>
          <a:lstStyle>
            <a:lvl1pPr>
              <a:defRPr>
                <a:solidFill>
                  <a:schemeClr val="tx1"/>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195469"/>
            <a:ext cx="5415759"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195469"/>
            <a:ext cx="5413248"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282137"/>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89694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69" y="3065261"/>
            <a:ext cx="11311107" cy="727478"/>
          </a:xfrm>
        </p:spPr>
        <p:txBody>
          <a:bodyPr anchor="ctr" anchorCtr="0"/>
          <a:lstStyle>
            <a:lvl1pPr>
              <a:defRPr sz="4800"/>
            </a:lvl1pPr>
          </a:lstStyle>
          <a:p>
            <a:r>
              <a:rPr lang="en-US"/>
              <a:t>Click to edit Master title style</a:t>
            </a:r>
          </a:p>
        </p:txBody>
      </p:sp>
      <p:sp>
        <p:nvSpPr>
          <p:cNvPr id="65" name="Rectangle 64">
            <a:extLst>
              <a:ext uri="{FF2B5EF4-FFF2-40B4-BE49-F238E27FC236}">
                <a16:creationId xmlns:a16="http://schemas.microsoft.com/office/drawing/2014/main" id="{430998B1-F8DB-4C6F-8A97-8E62B6730763}"/>
              </a:ext>
            </a:extLst>
          </p:cNvPr>
          <p:cNvSpPr/>
          <p:nvPr userDrawn="1"/>
        </p:nvSpPr>
        <p:spPr>
          <a:xfrm>
            <a:off x="10023485" y="5943072"/>
            <a:ext cx="1863715" cy="758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116853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971670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559529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734711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92703187"/>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53326386"/>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02634581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93611400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08012219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7335198"/>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9623987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618577535"/>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4191976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86773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898247018"/>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57579086"/>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382588038"/>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382042276"/>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38034900"/>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26527915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42805958"/>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13750252"/>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89338369"/>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00182419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80508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262002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68147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67460704"/>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40599252"/>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564956381"/>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6097894"/>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351127899"/>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799867558"/>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658458828"/>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0380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6468731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105032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50543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34B0-6238-446B-A541-F3D2458B8F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D70913-E818-4DEF-A795-FE037C28891F}"/>
              </a:ext>
            </a:extLst>
          </p:cNvPr>
          <p:cNvSpPr>
            <a:spLocks noGrp="1"/>
          </p:cNvSpPr>
          <p:nvPr>
            <p:ph type="dt" sz="half" idx="10"/>
          </p:nvPr>
        </p:nvSpPr>
        <p:spPr/>
        <p:txBody>
          <a:bodyPr/>
          <a:lstStyle/>
          <a:p>
            <a:fld id="{E598383A-5E27-400D-A06E-1F159D6DFDDD}" type="datetimeFigureOut">
              <a:rPr lang="en-US" smtClean="0"/>
              <a:t>3/29/2021</a:t>
            </a:fld>
            <a:endParaRPr lang="en-US"/>
          </a:p>
        </p:txBody>
      </p:sp>
      <p:sp>
        <p:nvSpPr>
          <p:cNvPr id="4" name="Footer Placeholder 3">
            <a:extLst>
              <a:ext uri="{FF2B5EF4-FFF2-40B4-BE49-F238E27FC236}">
                <a16:creationId xmlns:a16="http://schemas.microsoft.com/office/drawing/2014/main" id="{99FB8BD6-0379-4400-B224-4B26284931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8124AE9-ED30-4877-9B77-B6F65FB9B4FA}"/>
              </a:ext>
            </a:extLst>
          </p:cNvPr>
          <p:cNvSpPr>
            <a:spLocks noGrp="1"/>
          </p:cNvSpPr>
          <p:nvPr>
            <p:ph type="sldNum" sz="quarter" idx="12"/>
          </p:nvPr>
        </p:nvSpPr>
        <p:spPr/>
        <p:txBody>
          <a:bodyPr/>
          <a:lstStyle/>
          <a:p>
            <a:fld id="{E838D20A-A11A-4405-AA14-A2313EB8D7F8}" type="slidenum">
              <a:rPr lang="en-US" smtClean="0"/>
              <a:t>‹#›</a:t>
            </a:fld>
            <a:endParaRPr lang="en-US"/>
          </a:p>
        </p:txBody>
      </p:sp>
    </p:spTree>
    <p:extLst>
      <p:ext uri="{BB962C8B-B14F-4D97-AF65-F5344CB8AC3E}">
        <p14:creationId xmlns:p14="http://schemas.microsoft.com/office/powerpoint/2010/main" val="518748871"/>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70046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4300098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8132323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361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043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3265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456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373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7717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94919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69860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173337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2">
    <p:bg>
      <p:bgPr>
        <a:solidFill>
          <a:srgbClr val="000000"/>
        </a:solidFill>
        <a:effectLst/>
      </p:bgPr>
    </p:bg>
    <p:spTree>
      <p:nvGrpSpPr>
        <p:cNvPr id="1" name=""/>
        <p:cNvGrpSpPr/>
        <p:nvPr/>
      </p:nvGrpSpPr>
      <p:grpSpPr>
        <a:xfrm>
          <a:off x="0" y="0"/>
          <a:ext cx="0" cy="0"/>
          <a:chOff x="0" y="0"/>
          <a:chExt cx="0" cy="0"/>
        </a:xfrm>
      </p:grpSpPr>
      <p:pic>
        <p:nvPicPr>
          <p:cNvPr id="4" name="Picture 3" descr="Sunburst chart&#10;&#10;Description automatically generated with low confidence">
            <a:extLst>
              <a:ext uri="{FF2B5EF4-FFF2-40B4-BE49-F238E27FC236}">
                <a16:creationId xmlns:a16="http://schemas.microsoft.com/office/drawing/2014/main" id="{3DE4ECC8-5A63-42D5-958C-775BF858E7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8"/>
          <a:stretch/>
        </p:blipFill>
        <p:spPr>
          <a:xfrm>
            <a:off x="8875228" y="1237"/>
            <a:ext cx="3316772" cy="6858000"/>
          </a:xfrm>
          <a:prstGeom prst="rect">
            <a:avLst/>
          </a:prstGeom>
        </p:spPr>
      </p:pic>
      <p:pic>
        <p:nvPicPr>
          <p:cNvPr id="3" name="MS logo white - EMF" descr="Microsoft logo white text version">
            <a:extLst>
              <a:ext uri="{FF2B5EF4-FFF2-40B4-BE49-F238E27FC236}">
                <a16:creationId xmlns:a16="http://schemas.microsoft.com/office/drawing/2014/main" id="{09A56F85-EB04-4D1C-A56D-0789283DFF8F}"/>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4770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FCA04CCC-89CB-4C66-9594-D1D373EF707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908516161"/>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C5D56A03-466A-4259-AB4C-31552B627E07}"/>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2347679166"/>
      </p:ext>
    </p:extLst>
  </p:cSld>
  <p:clrMapOvr>
    <a:masterClrMapping/>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ECC6C7ED-E62E-464C-BA74-D1037A08F7C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4172740157"/>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87F7E11-4D17-48D8-A138-23D57849DF0F}"/>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684463929"/>
      </p:ext>
    </p:extLst>
  </p:cSld>
  <p:clrMapOvr>
    <a:masterClrMapping/>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581616"/>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353037"/>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228781"/>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58148704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470127"/>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912371"/>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848868"/>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8298181"/>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7358803"/>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6204948"/>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6290513"/>
      </p:ext>
    </p:extLst>
  </p:cSld>
  <p:clrMapOvr>
    <a:masterClrMapping/>
  </p:clrMapOvr>
  <p:transition advClick="0" advTm="20000">
    <p:push dir="u"/>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4267027"/>
      </p:ext>
    </p:extLst>
  </p:cSld>
  <p:clrMapOvr>
    <a:masterClrMapping/>
  </p:clrMapOvr>
  <p:transition advClick="0" advTm="20000">
    <p:push dir="u"/>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762587"/>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586449"/>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2580268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9165785"/>
      </p:ext>
    </p:extLst>
  </p:cSld>
  <p:clrMapOvr>
    <a:masterClrMapping/>
  </p:clrMapOvr>
  <p:transition advClick="0" advTm="20000">
    <p:push dir="u"/>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42832094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29239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8046971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84267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7089819"/>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370933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605044"/>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35634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20442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image" Target="../media/image61.emf"/><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31" Type="http://schemas.openxmlformats.org/officeDocument/2006/relationships/theme" Target="../theme/theme11.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26" Type="http://schemas.openxmlformats.org/officeDocument/2006/relationships/slideLayout" Target="../slideLayouts/slideLayout361.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34" Type="http://schemas.openxmlformats.org/officeDocument/2006/relationships/image" Target="../media/image71.png"/><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5" Type="http://schemas.openxmlformats.org/officeDocument/2006/relationships/slideLayout" Target="../slideLayouts/slideLayout360.xml"/><Relationship Id="rId33" Type="http://schemas.openxmlformats.org/officeDocument/2006/relationships/theme" Target="../theme/theme1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29" Type="http://schemas.openxmlformats.org/officeDocument/2006/relationships/slideLayout" Target="../slideLayouts/slideLayout364.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slideLayout" Target="../slideLayouts/slideLayout359.xml"/><Relationship Id="rId32" Type="http://schemas.openxmlformats.org/officeDocument/2006/relationships/slideLayout" Target="../slideLayouts/slideLayout367.xml"/><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slideLayout" Target="../slideLayouts/slideLayout358.xml"/><Relationship Id="rId28" Type="http://schemas.openxmlformats.org/officeDocument/2006/relationships/slideLayout" Target="../slideLayouts/slideLayout363.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31" Type="http://schemas.openxmlformats.org/officeDocument/2006/relationships/slideLayout" Target="../slideLayouts/slideLayout366.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slideLayout" Target="../slideLayouts/slideLayout357.xml"/><Relationship Id="rId27" Type="http://schemas.openxmlformats.org/officeDocument/2006/relationships/slideLayout" Target="../slideLayouts/slideLayout362.xml"/><Relationship Id="rId30" Type="http://schemas.openxmlformats.org/officeDocument/2006/relationships/slideLayout" Target="../slideLayouts/slideLayout365.xml"/><Relationship Id="rId8" Type="http://schemas.openxmlformats.org/officeDocument/2006/relationships/slideLayout" Target="../slideLayouts/slideLayout34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34" Type="http://schemas.openxmlformats.org/officeDocument/2006/relationships/slideLayout" Target="../slideLayouts/slideLayout401.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33" Type="http://schemas.openxmlformats.org/officeDocument/2006/relationships/slideLayout" Target="../slideLayouts/slideLayout400.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32" Type="http://schemas.openxmlformats.org/officeDocument/2006/relationships/slideLayout" Target="../slideLayouts/slideLayout399.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36" Type="http://schemas.openxmlformats.org/officeDocument/2006/relationships/theme" Target="../theme/theme13.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31" Type="http://schemas.openxmlformats.org/officeDocument/2006/relationships/slideLayout" Target="../slideLayouts/slideLayout398.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slideLayout" Target="../slideLayouts/slideLayout397.xml"/><Relationship Id="rId35" Type="http://schemas.openxmlformats.org/officeDocument/2006/relationships/slideLayout" Target="../slideLayouts/slideLayout402.xml"/><Relationship Id="rId8" Type="http://schemas.openxmlformats.org/officeDocument/2006/relationships/slideLayout" Target="../slideLayouts/slideLayout375.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15.xml"/><Relationship Id="rId18" Type="http://schemas.openxmlformats.org/officeDocument/2006/relationships/slideLayout" Target="../slideLayouts/slideLayout420.xml"/><Relationship Id="rId26" Type="http://schemas.openxmlformats.org/officeDocument/2006/relationships/slideLayout" Target="../slideLayouts/slideLayout428.xml"/><Relationship Id="rId3" Type="http://schemas.openxmlformats.org/officeDocument/2006/relationships/slideLayout" Target="../slideLayouts/slideLayout405.xml"/><Relationship Id="rId21" Type="http://schemas.openxmlformats.org/officeDocument/2006/relationships/slideLayout" Target="../slideLayouts/slideLayout423.xml"/><Relationship Id="rId34" Type="http://schemas.openxmlformats.org/officeDocument/2006/relationships/theme" Target="../theme/theme14.xml"/><Relationship Id="rId7" Type="http://schemas.openxmlformats.org/officeDocument/2006/relationships/slideLayout" Target="../slideLayouts/slideLayout409.xml"/><Relationship Id="rId12" Type="http://schemas.openxmlformats.org/officeDocument/2006/relationships/slideLayout" Target="../slideLayouts/slideLayout414.xml"/><Relationship Id="rId17" Type="http://schemas.openxmlformats.org/officeDocument/2006/relationships/slideLayout" Target="../slideLayouts/slideLayout419.xml"/><Relationship Id="rId25" Type="http://schemas.openxmlformats.org/officeDocument/2006/relationships/slideLayout" Target="../slideLayouts/slideLayout427.xml"/><Relationship Id="rId33" Type="http://schemas.openxmlformats.org/officeDocument/2006/relationships/slideLayout" Target="../slideLayouts/slideLayout435.xml"/><Relationship Id="rId2" Type="http://schemas.openxmlformats.org/officeDocument/2006/relationships/slideLayout" Target="../slideLayouts/slideLayout404.xml"/><Relationship Id="rId16" Type="http://schemas.openxmlformats.org/officeDocument/2006/relationships/slideLayout" Target="../slideLayouts/slideLayout418.xml"/><Relationship Id="rId20" Type="http://schemas.openxmlformats.org/officeDocument/2006/relationships/slideLayout" Target="../slideLayouts/slideLayout422.xml"/><Relationship Id="rId29" Type="http://schemas.openxmlformats.org/officeDocument/2006/relationships/slideLayout" Target="../slideLayouts/slideLayout431.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slideLayout" Target="../slideLayouts/slideLayout413.xml"/><Relationship Id="rId24" Type="http://schemas.openxmlformats.org/officeDocument/2006/relationships/slideLayout" Target="../slideLayouts/slideLayout426.xml"/><Relationship Id="rId32" Type="http://schemas.openxmlformats.org/officeDocument/2006/relationships/slideLayout" Target="../slideLayouts/slideLayout434.xml"/><Relationship Id="rId5" Type="http://schemas.openxmlformats.org/officeDocument/2006/relationships/slideLayout" Target="../slideLayouts/slideLayout407.xml"/><Relationship Id="rId15" Type="http://schemas.openxmlformats.org/officeDocument/2006/relationships/slideLayout" Target="../slideLayouts/slideLayout417.xml"/><Relationship Id="rId23" Type="http://schemas.openxmlformats.org/officeDocument/2006/relationships/slideLayout" Target="../slideLayouts/slideLayout425.xml"/><Relationship Id="rId28" Type="http://schemas.openxmlformats.org/officeDocument/2006/relationships/slideLayout" Target="../slideLayouts/slideLayout430.xml"/><Relationship Id="rId10" Type="http://schemas.openxmlformats.org/officeDocument/2006/relationships/slideLayout" Target="../slideLayouts/slideLayout412.xml"/><Relationship Id="rId19" Type="http://schemas.openxmlformats.org/officeDocument/2006/relationships/slideLayout" Target="../slideLayouts/slideLayout421.xml"/><Relationship Id="rId31" Type="http://schemas.openxmlformats.org/officeDocument/2006/relationships/slideLayout" Target="../slideLayouts/slideLayout433.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slideLayout" Target="../slideLayouts/slideLayout416.xml"/><Relationship Id="rId22" Type="http://schemas.openxmlformats.org/officeDocument/2006/relationships/slideLayout" Target="../slideLayouts/slideLayout424.xml"/><Relationship Id="rId27" Type="http://schemas.openxmlformats.org/officeDocument/2006/relationships/slideLayout" Target="../slideLayouts/slideLayout429.xml"/><Relationship Id="rId30" Type="http://schemas.openxmlformats.org/officeDocument/2006/relationships/slideLayout" Target="../slideLayouts/slideLayout432.xml"/><Relationship Id="rId35" Type="http://schemas.openxmlformats.org/officeDocument/2006/relationships/image" Target="../media/image71.png"/><Relationship Id="rId8" Type="http://schemas.openxmlformats.org/officeDocument/2006/relationships/slideLayout" Target="../slideLayouts/slideLayout41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slideLayout" Target="../slideLayouts/slideLayout448.xml"/><Relationship Id="rId18" Type="http://schemas.openxmlformats.org/officeDocument/2006/relationships/slideLayout" Target="../slideLayouts/slideLayout453.xml"/><Relationship Id="rId3" Type="http://schemas.openxmlformats.org/officeDocument/2006/relationships/slideLayout" Target="../slideLayouts/slideLayout438.xml"/><Relationship Id="rId21" Type="http://schemas.openxmlformats.org/officeDocument/2006/relationships/theme" Target="../theme/theme15.xml"/><Relationship Id="rId7" Type="http://schemas.openxmlformats.org/officeDocument/2006/relationships/slideLayout" Target="../slideLayouts/slideLayout442.xml"/><Relationship Id="rId12" Type="http://schemas.openxmlformats.org/officeDocument/2006/relationships/slideLayout" Target="../slideLayouts/slideLayout447.xml"/><Relationship Id="rId17" Type="http://schemas.openxmlformats.org/officeDocument/2006/relationships/slideLayout" Target="../slideLayouts/slideLayout452.xml"/><Relationship Id="rId2" Type="http://schemas.openxmlformats.org/officeDocument/2006/relationships/slideLayout" Target="../slideLayouts/slideLayout437.xml"/><Relationship Id="rId16" Type="http://schemas.openxmlformats.org/officeDocument/2006/relationships/slideLayout" Target="../slideLayouts/slideLayout451.xml"/><Relationship Id="rId20" Type="http://schemas.openxmlformats.org/officeDocument/2006/relationships/slideLayout" Target="../slideLayouts/slideLayout455.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5" Type="http://schemas.openxmlformats.org/officeDocument/2006/relationships/slideLayout" Target="../slideLayouts/slideLayout440.xml"/><Relationship Id="rId15" Type="http://schemas.openxmlformats.org/officeDocument/2006/relationships/slideLayout" Target="../slideLayouts/slideLayout450.xml"/><Relationship Id="rId10" Type="http://schemas.openxmlformats.org/officeDocument/2006/relationships/slideLayout" Target="../slideLayouts/slideLayout445.xml"/><Relationship Id="rId19" Type="http://schemas.openxmlformats.org/officeDocument/2006/relationships/slideLayout" Target="../slideLayouts/slideLayout45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 Id="rId22" Type="http://schemas.openxmlformats.org/officeDocument/2006/relationships/image" Target="../media/image76.emf"/></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 Type="http://schemas.openxmlformats.org/officeDocument/2006/relationships/slideLayout" Target="../slideLayouts/slideLayout458.xml"/><Relationship Id="rId21" Type="http://schemas.openxmlformats.org/officeDocument/2006/relationships/slideLayout" Target="../slideLayouts/slideLayout476.xml"/><Relationship Id="rId34" Type="http://schemas.openxmlformats.org/officeDocument/2006/relationships/slideLayout" Target="../slideLayouts/slideLayout489.xml"/><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33" Type="http://schemas.openxmlformats.org/officeDocument/2006/relationships/slideLayout" Target="../slideLayouts/slideLayout488.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slideLayout" Target="../slideLayouts/slideLayout475.xml"/><Relationship Id="rId29" Type="http://schemas.openxmlformats.org/officeDocument/2006/relationships/slideLayout" Target="../slideLayouts/slideLayout484.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32" Type="http://schemas.openxmlformats.org/officeDocument/2006/relationships/slideLayout" Target="../slideLayouts/slideLayout487.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36" Type="http://schemas.openxmlformats.org/officeDocument/2006/relationships/image" Target="../media/image34.emf"/><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31" Type="http://schemas.openxmlformats.org/officeDocument/2006/relationships/slideLayout" Target="../slideLayouts/slideLayout486.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slideLayout" Target="../slideLayouts/slideLayout485.xml"/><Relationship Id="rId35" Type="http://schemas.openxmlformats.org/officeDocument/2006/relationships/theme" Target="../theme/theme16.xml"/><Relationship Id="rId8" Type="http://schemas.openxmlformats.org/officeDocument/2006/relationships/slideLayout" Target="../slideLayouts/slideLayout46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image" Target="../media/image76.emf"/><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26" Type="http://schemas.openxmlformats.org/officeDocument/2006/relationships/slideLayout" Target="../slideLayouts/slideLayout536.xml"/><Relationship Id="rId21" Type="http://schemas.openxmlformats.org/officeDocument/2006/relationships/slideLayout" Target="../slideLayouts/slideLayout531.xml"/><Relationship Id="rId34" Type="http://schemas.openxmlformats.org/officeDocument/2006/relationships/slideLayout" Target="../slideLayouts/slideLayout544.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5" Type="http://schemas.openxmlformats.org/officeDocument/2006/relationships/slideLayout" Target="../slideLayouts/slideLayout535.xml"/><Relationship Id="rId33" Type="http://schemas.openxmlformats.org/officeDocument/2006/relationships/slideLayout" Target="../slideLayouts/slideLayout543.xml"/><Relationship Id="rId2" Type="http://schemas.openxmlformats.org/officeDocument/2006/relationships/slideLayout" Target="../slideLayouts/slideLayout512.xml"/><Relationship Id="rId16" Type="http://schemas.openxmlformats.org/officeDocument/2006/relationships/slideLayout" Target="../slideLayouts/slideLayout526.xml"/><Relationship Id="rId20" Type="http://schemas.openxmlformats.org/officeDocument/2006/relationships/slideLayout" Target="../slideLayouts/slideLayout530.xml"/><Relationship Id="rId29" Type="http://schemas.openxmlformats.org/officeDocument/2006/relationships/slideLayout" Target="../slideLayouts/slideLayout539.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24" Type="http://schemas.openxmlformats.org/officeDocument/2006/relationships/slideLayout" Target="../slideLayouts/slideLayout534.xml"/><Relationship Id="rId32" Type="http://schemas.openxmlformats.org/officeDocument/2006/relationships/slideLayout" Target="../slideLayouts/slideLayout542.xml"/><Relationship Id="rId37" Type="http://schemas.openxmlformats.org/officeDocument/2006/relationships/image" Target="../media/image34.emf"/><Relationship Id="rId5" Type="http://schemas.openxmlformats.org/officeDocument/2006/relationships/slideLayout" Target="../slideLayouts/slideLayout515.xml"/><Relationship Id="rId15" Type="http://schemas.openxmlformats.org/officeDocument/2006/relationships/slideLayout" Target="../slideLayouts/slideLayout525.xml"/><Relationship Id="rId23" Type="http://schemas.openxmlformats.org/officeDocument/2006/relationships/slideLayout" Target="../slideLayouts/slideLayout533.xml"/><Relationship Id="rId28" Type="http://schemas.openxmlformats.org/officeDocument/2006/relationships/slideLayout" Target="../slideLayouts/slideLayout538.xml"/><Relationship Id="rId36" Type="http://schemas.openxmlformats.org/officeDocument/2006/relationships/theme" Target="../theme/theme18.xml"/><Relationship Id="rId10" Type="http://schemas.openxmlformats.org/officeDocument/2006/relationships/slideLayout" Target="../slideLayouts/slideLayout520.xml"/><Relationship Id="rId19" Type="http://schemas.openxmlformats.org/officeDocument/2006/relationships/slideLayout" Target="../slideLayouts/slideLayout529.xml"/><Relationship Id="rId31" Type="http://schemas.openxmlformats.org/officeDocument/2006/relationships/slideLayout" Target="../slideLayouts/slideLayout541.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 Id="rId22" Type="http://schemas.openxmlformats.org/officeDocument/2006/relationships/slideLayout" Target="../slideLayouts/slideLayout532.xml"/><Relationship Id="rId27" Type="http://schemas.openxmlformats.org/officeDocument/2006/relationships/slideLayout" Target="../slideLayouts/slideLayout537.xml"/><Relationship Id="rId30" Type="http://schemas.openxmlformats.org/officeDocument/2006/relationships/slideLayout" Target="../slideLayouts/slideLayout540.xml"/><Relationship Id="rId35" Type="http://schemas.openxmlformats.org/officeDocument/2006/relationships/slideLayout" Target="../slideLayouts/slideLayout545.xml"/><Relationship Id="rId8" Type="http://schemas.openxmlformats.org/officeDocument/2006/relationships/slideLayout" Target="../slideLayouts/slideLayout518.xml"/><Relationship Id="rId3" Type="http://schemas.openxmlformats.org/officeDocument/2006/relationships/slideLayout" Target="../slideLayouts/slideLayout51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slideLayout" Target="../slideLayouts/slideLayout558.xml"/><Relationship Id="rId18" Type="http://schemas.openxmlformats.org/officeDocument/2006/relationships/slideLayout" Target="../slideLayouts/slideLayout563.xml"/><Relationship Id="rId26" Type="http://schemas.openxmlformats.org/officeDocument/2006/relationships/image" Target="../media/image1.emf"/><Relationship Id="rId3" Type="http://schemas.openxmlformats.org/officeDocument/2006/relationships/slideLayout" Target="../slideLayouts/slideLayout548.xml"/><Relationship Id="rId21" Type="http://schemas.openxmlformats.org/officeDocument/2006/relationships/slideLayout" Target="../slideLayouts/slideLayout566.xml"/><Relationship Id="rId7" Type="http://schemas.openxmlformats.org/officeDocument/2006/relationships/slideLayout" Target="../slideLayouts/slideLayout552.xml"/><Relationship Id="rId12" Type="http://schemas.openxmlformats.org/officeDocument/2006/relationships/slideLayout" Target="../slideLayouts/slideLayout557.xml"/><Relationship Id="rId17" Type="http://schemas.openxmlformats.org/officeDocument/2006/relationships/slideLayout" Target="../slideLayouts/slideLayout562.xml"/><Relationship Id="rId25" Type="http://schemas.openxmlformats.org/officeDocument/2006/relationships/image" Target="../media/image44.png"/><Relationship Id="rId2" Type="http://schemas.openxmlformats.org/officeDocument/2006/relationships/slideLayout" Target="../slideLayouts/slideLayout547.xml"/><Relationship Id="rId16" Type="http://schemas.openxmlformats.org/officeDocument/2006/relationships/slideLayout" Target="../slideLayouts/slideLayout561.xml"/><Relationship Id="rId20" Type="http://schemas.openxmlformats.org/officeDocument/2006/relationships/slideLayout" Target="../slideLayouts/slideLayout565.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slideLayout" Target="../slideLayouts/slideLayout556.xml"/><Relationship Id="rId24" Type="http://schemas.openxmlformats.org/officeDocument/2006/relationships/theme" Target="../theme/theme19.xml"/><Relationship Id="rId5" Type="http://schemas.openxmlformats.org/officeDocument/2006/relationships/slideLayout" Target="../slideLayouts/slideLayout550.xml"/><Relationship Id="rId15" Type="http://schemas.openxmlformats.org/officeDocument/2006/relationships/slideLayout" Target="../slideLayouts/slideLayout560.xml"/><Relationship Id="rId23" Type="http://schemas.openxmlformats.org/officeDocument/2006/relationships/slideLayout" Target="../slideLayouts/slideLayout568.xml"/><Relationship Id="rId10" Type="http://schemas.openxmlformats.org/officeDocument/2006/relationships/slideLayout" Target="../slideLayouts/slideLayout555.xml"/><Relationship Id="rId19" Type="http://schemas.openxmlformats.org/officeDocument/2006/relationships/slideLayout" Target="../slideLayouts/slideLayout564.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slideLayout" Target="../slideLayouts/slideLayout559.xml"/><Relationship Id="rId22" Type="http://schemas.openxmlformats.org/officeDocument/2006/relationships/slideLayout" Target="../slideLayouts/slideLayout56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theme" Target="../theme/theme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8"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581.xml"/><Relationship Id="rId18" Type="http://schemas.openxmlformats.org/officeDocument/2006/relationships/slideLayout" Target="../slideLayouts/slideLayout586.xml"/><Relationship Id="rId26" Type="http://schemas.openxmlformats.org/officeDocument/2006/relationships/slideLayout" Target="../slideLayouts/slideLayout594.xml"/><Relationship Id="rId3" Type="http://schemas.openxmlformats.org/officeDocument/2006/relationships/slideLayout" Target="../slideLayouts/slideLayout571.xml"/><Relationship Id="rId21" Type="http://schemas.openxmlformats.org/officeDocument/2006/relationships/slideLayout" Target="../slideLayouts/slideLayout589.xml"/><Relationship Id="rId34" Type="http://schemas.openxmlformats.org/officeDocument/2006/relationships/slideLayout" Target="../slideLayouts/slideLayout602.xml"/><Relationship Id="rId7" Type="http://schemas.openxmlformats.org/officeDocument/2006/relationships/slideLayout" Target="../slideLayouts/slideLayout575.xml"/><Relationship Id="rId12" Type="http://schemas.openxmlformats.org/officeDocument/2006/relationships/slideLayout" Target="../slideLayouts/slideLayout580.xml"/><Relationship Id="rId17" Type="http://schemas.openxmlformats.org/officeDocument/2006/relationships/slideLayout" Target="../slideLayouts/slideLayout585.xml"/><Relationship Id="rId25" Type="http://schemas.openxmlformats.org/officeDocument/2006/relationships/slideLayout" Target="../slideLayouts/slideLayout593.xml"/><Relationship Id="rId33" Type="http://schemas.openxmlformats.org/officeDocument/2006/relationships/slideLayout" Target="../slideLayouts/slideLayout601.xml"/><Relationship Id="rId2" Type="http://schemas.openxmlformats.org/officeDocument/2006/relationships/slideLayout" Target="../slideLayouts/slideLayout570.xml"/><Relationship Id="rId16" Type="http://schemas.openxmlformats.org/officeDocument/2006/relationships/slideLayout" Target="../slideLayouts/slideLayout584.xml"/><Relationship Id="rId20" Type="http://schemas.openxmlformats.org/officeDocument/2006/relationships/slideLayout" Target="../slideLayouts/slideLayout588.xml"/><Relationship Id="rId29" Type="http://schemas.openxmlformats.org/officeDocument/2006/relationships/slideLayout" Target="../slideLayouts/slideLayout597.xml"/><Relationship Id="rId1" Type="http://schemas.openxmlformats.org/officeDocument/2006/relationships/slideLayout" Target="../slideLayouts/slideLayout569.xml"/><Relationship Id="rId6" Type="http://schemas.openxmlformats.org/officeDocument/2006/relationships/slideLayout" Target="../slideLayouts/slideLayout574.xml"/><Relationship Id="rId11" Type="http://schemas.openxmlformats.org/officeDocument/2006/relationships/slideLayout" Target="../slideLayouts/slideLayout579.xml"/><Relationship Id="rId24" Type="http://schemas.openxmlformats.org/officeDocument/2006/relationships/slideLayout" Target="../slideLayouts/slideLayout592.xml"/><Relationship Id="rId32" Type="http://schemas.openxmlformats.org/officeDocument/2006/relationships/slideLayout" Target="../slideLayouts/slideLayout600.xml"/><Relationship Id="rId5" Type="http://schemas.openxmlformats.org/officeDocument/2006/relationships/slideLayout" Target="../slideLayouts/slideLayout573.xml"/><Relationship Id="rId15" Type="http://schemas.openxmlformats.org/officeDocument/2006/relationships/slideLayout" Target="../slideLayouts/slideLayout583.xml"/><Relationship Id="rId23" Type="http://schemas.openxmlformats.org/officeDocument/2006/relationships/slideLayout" Target="../slideLayouts/slideLayout591.xml"/><Relationship Id="rId28" Type="http://schemas.openxmlformats.org/officeDocument/2006/relationships/slideLayout" Target="../slideLayouts/slideLayout596.xml"/><Relationship Id="rId36" Type="http://schemas.openxmlformats.org/officeDocument/2006/relationships/image" Target="../media/image85.png"/><Relationship Id="rId10" Type="http://schemas.openxmlformats.org/officeDocument/2006/relationships/slideLayout" Target="../slideLayouts/slideLayout578.xml"/><Relationship Id="rId19" Type="http://schemas.openxmlformats.org/officeDocument/2006/relationships/slideLayout" Target="../slideLayouts/slideLayout587.xml"/><Relationship Id="rId31" Type="http://schemas.openxmlformats.org/officeDocument/2006/relationships/slideLayout" Target="../slideLayouts/slideLayout599.xml"/><Relationship Id="rId4" Type="http://schemas.openxmlformats.org/officeDocument/2006/relationships/slideLayout" Target="../slideLayouts/slideLayout572.xml"/><Relationship Id="rId9" Type="http://schemas.openxmlformats.org/officeDocument/2006/relationships/slideLayout" Target="../slideLayouts/slideLayout577.xml"/><Relationship Id="rId14" Type="http://schemas.openxmlformats.org/officeDocument/2006/relationships/slideLayout" Target="../slideLayouts/slideLayout582.xml"/><Relationship Id="rId22" Type="http://schemas.openxmlformats.org/officeDocument/2006/relationships/slideLayout" Target="../slideLayouts/slideLayout590.xml"/><Relationship Id="rId27" Type="http://schemas.openxmlformats.org/officeDocument/2006/relationships/slideLayout" Target="../slideLayouts/slideLayout595.xml"/><Relationship Id="rId30" Type="http://schemas.openxmlformats.org/officeDocument/2006/relationships/slideLayout" Target="../slideLayouts/slideLayout598.xml"/><Relationship Id="rId35" Type="http://schemas.openxmlformats.org/officeDocument/2006/relationships/theme" Target="../theme/theme20.xml"/><Relationship Id="rId8" Type="http://schemas.openxmlformats.org/officeDocument/2006/relationships/slideLayout" Target="../slideLayouts/slideLayout57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theme" Target="../theme/theme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image" Target="../media/image34.emf"/><Relationship Id="rId8"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image" Target="../media/image34.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theme" Target="../theme/theme4.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image" Target="../media/image44.pn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theme" Target="../theme/theme5.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8" Type="http://schemas.openxmlformats.org/officeDocument/2006/relationships/slideLayout" Target="../slideLayouts/slideLayout15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9" Type="http://schemas.openxmlformats.org/officeDocument/2006/relationships/slideLayout" Target="../slideLayouts/slideLayout217.xml"/><Relationship Id="rId21" Type="http://schemas.openxmlformats.org/officeDocument/2006/relationships/slideLayout" Target="../slideLayouts/slideLayout199.xml"/><Relationship Id="rId34" Type="http://schemas.openxmlformats.org/officeDocument/2006/relationships/slideLayout" Target="../slideLayouts/slideLayout212.xml"/><Relationship Id="rId42" Type="http://schemas.openxmlformats.org/officeDocument/2006/relationships/slideLayout" Target="../slideLayouts/slideLayout220.x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41" Type="http://schemas.openxmlformats.org/officeDocument/2006/relationships/slideLayout" Target="../slideLayouts/slideLayout21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slideLayout" Target="../slideLayouts/slideLayout210.xml"/><Relationship Id="rId37" Type="http://schemas.openxmlformats.org/officeDocument/2006/relationships/slideLayout" Target="../slideLayouts/slideLayout215.xml"/><Relationship Id="rId40" Type="http://schemas.openxmlformats.org/officeDocument/2006/relationships/slideLayout" Target="../slideLayouts/slideLayout218.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36" Type="http://schemas.openxmlformats.org/officeDocument/2006/relationships/slideLayout" Target="../slideLayouts/slideLayout214.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slideLayout" Target="../slideLayouts/slideLayout209.xml"/><Relationship Id="rId44" Type="http://schemas.openxmlformats.org/officeDocument/2006/relationships/image" Target="../media/image34.emf"/><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slideLayout" Target="../slideLayouts/slideLayout213.xml"/><Relationship Id="rId43" Type="http://schemas.openxmlformats.org/officeDocument/2006/relationships/theme" Target="../theme/theme6.xml"/><Relationship Id="rId8" Type="http://schemas.openxmlformats.org/officeDocument/2006/relationships/slideLayout" Target="../slideLayouts/slideLayout186.xml"/><Relationship Id="rId3" Type="http://schemas.openxmlformats.org/officeDocument/2006/relationships/slideLayout" Target="../slideLayouts/slideLayout181.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slideLayout" Target="../slideLayouts/slideLayout211.xml"/><Relationship Id="rId38" Type="http://schemas.openxmlformats.org/officeDocument/2006/relationships/slideLayout" Target="../slideLayouts/slideLayout21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slideLayout" Target="../slideLayouts/slideLayout246.xml"/><Relationship Id="rId39" Type="http://schemas.openxmlformats.org/officeDocument/2006/relationships/theme" Target="../theme/theme7.xml"/><Relationship Id="rId21" Type="http://schemas.openxmlformats.org/officeDocument/2006/relationships/slideLayout" Target="../slideLayouts/slideLayout241.xml"/><Relationship Id="rId34" Type="http://schemas.openxmlformats.org/officeDocument/2006/relationships/slideLayout" Target="../slideLayouts/slideLayout254.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29" Type="http://schemas.openxmlformats.org/officeDocument/2006/relationships/slideLayout" Target="../slideLayouts/slideLayout249.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40" Type="http://schemas.openxmlformats.org/officeDocument/2006/relationships/image" Target="../media/image34.emf"/><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31" Type="http://schemas.openxmlformats.org/officeDocument/2006/relationships/slideLayout" Target="../slideLayouts/slideLayout251.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8" Type="http://schemas.openxmlformats.org/officeDocument/2006/relationships/slideLayout" Target="../slideLayouts/slideLayout228.xml"/><Relationship Id="rId3" Type="http://schemas.openxmlformats.org/officeDocument/2006/relationships/slideLayout" Target="../slideLayouts/slideLayout2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6.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8.xml"/><Relationship Id="rId5" Type="http://schemas.openxmlformats.org/officeDocument/2006/relationships/slideLayout" Target="../slideLayouts/slideLayout26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image" Target="../media/image44.png"/><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theme" Target="../theme/theme9.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spTree>
    <p:extLst>
      <p:ext uri="{BB962C8B-B14F-4D97-AF65-F5344CB8AC3E}">
        <p14:creationId xmlns:p14="http://schemas.microsoft.com/office/powerpoint/2010/main" val="1014853180"/>
      </p:ext>
    </p:extLst>
  </p:cSld>
  <p:clrMap bg1="lt1" tx1="dk1" bg2="lt2" tx2="dk2" accent1="accent1" accent2="accent2" accent3="accent3" accent4="accent4" accent5="accent5" accent6="accent6" hlink="hlink" folHlink="folHlink"/>
  <p:sldLayoutIdLst>
    <p:sldLayoutId id="2147485597" r:id="rId1"/>
    <p:sldLayoutId id="2147485598" r:id="rId2"/>
    <p:sldLayoutId id="2147485599" r:id="rId3"/>
    <p:sldLayoutId id="2147485600" r:id="rId4"/>
    <p:sldLayoutId id="2147485601" r:id="rId5"/>
    <p:sldLayoutId id="2147485602" r:id="rId6"/>
    <p:sldLayoutId id="2147485603" r:id="rId7"/>
    <p:sldLayoutId id="2147485604" r:id="rId8"/>
    <p:sldLayoutId id="2147485605" r:id="rId9"/>
    <p:sldLayoutId id="2147485606" r:id="rId10"/>
    <p:sldLayoutId id="2147485607" r:id="rId11"/>
    <p:sldLayoutId id="2147485608" r:id="rId12"/>
    <p:sldLayoutId id="2147485609" r:id="rId13"/>
    <p:sldLayoutId id="2147485610" r:id="rId14"/>
    <p:sldLayoutId id="2147485611" r:id="rId15"/>
    <p:sldLayoutId id="2147485612" r:id="rId16"/>
    <p:sldLayoutId id="2147485613" r:id="rId17"/>
    <p:sldLayoutId id="2147485614" r:id="rId18"/>
    <p:sldLayoutId id="2147485615" r:id="rId19"/>
    <p:sldLayoutId id="2147485616" r:id="rId20"/>
    <p:sldLayoutId id="2147485617" r:id="rId21"/>
    <p:sldLayoutId id="2147485618" r:id="rId22"/>
    <p:sldLayoutId id="2147485619" r:id="rId23"/>
    <p:sldLayoutId id="2147485620" r:id="rId24"/>
    <p:sldLayoutId id="2147485621" r:id="rId25"/>
    <p:sldLayoutId id="2147485622" r:id="rId26"/>
    <p:sldLayoutId id="2147485623" r:id="rId27"/>
    <p:sldLayoutId id="2147485624" r:id="rId28"/>
    <p:sldLayoutId id="2147485625" r:id="rId29"/>
    <p:sldLayoutId id="2147485626" r:id="rId30"/>
    <p:sldLayoutId id="2147485627" r:id="rId31"/>
    <p:sldLayoutId id="2147485628" r:id="rId32"/>
    <p:sldLayoutId id="2147485629" r:id="rId33"/>
    <p:sldLayoutId id="2147485630" r:id="rId34"/>
    <p:sldLayoutId id="2147485631" r:id="rId35"/>
    <p:sldLayoutId id="2147485634" r:id="rId36"/>
    <p:sldLayoutId id="2147485636" r:id="rId37"/>
    <p:sldLayoutId id="2147485637" r:id="rId38"/>
    <p:sldLayoutId id="2147485808" r:id="rId39"/>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80"/>
            <a:ext cx="11653521" cy="19268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2036120"/>
      </p:ext>
    </p:extLst>
  </p:cSld>
  <p:clrMap bg1="dk1" tx1="lt1" bg2="dk2" tx2="lt2" accent1="accent1" accent2="accent2" accent3="accent3" accent4="accent4" accent5="accent5" accent6="accent6" hlink="hlink" folHlink="folHlink"/>
  <p:sldLayoutIdLst>
    <p:sldLayoutId id="2147485875" r:id="rId1"/>
    <p:sldLayoutId id="2147485876" r:id="rId2"/>
    <p:sldLayoutId id="2147485877" r:id="rId3"/>
    <p:sldLayoutId id="2147485878" r:id="rId4"/>
    <p:sldLayoutId id="2147485879" r:id="rId5"/>
    <p:sldLayoutId id="2147485880" r:id="rId6"/>
    <p:sldLayoutId id="2147485881" r:id="rId7"/>
    <p:sldLayoutId id="2147485882" r:id="rId8"/>
    <p:sldLayoutId id="2147485883" r:id="rId9"/>
    <p:sldLayoutId id="2147485884" r:id="rId10"/>
    <p:sldLayoutId id="2147485885" r:id="rId11"/>
    <p:sldLayoutId id="2147485886" r:id="rId12"/>
    <p:sldLayoutId id="2147485887" r:id="rId13"/>
    <p:sldLayoutId id="2147485888" r:id="rId14"/>
    <p:sldLayoutId id="2147485889" r:id="rId15"/>
    <p:sldLayoutId id="2147485890" r:id="rId16"/>
    <p:sldLayoutId id="2147485891" r:id="rId17"/>
    <p:sldLayoutId id="2147485892" r:id="rId18"/>
    <p:sldLayoutId id="2147485893" r:id="rId19"/>
    <p:sldLayoutId id="2147485894" r:id="rId20"/>
    <p:sldLayoutId id="2147485895" r:id="rId21"/>
    <p:sldLayoutId id="2147485896" r:id="rId22"/>
    <p:sldLayoutId id="2147485897" r:id="rId23"/>
    <p:sldLayoutId id="2147485898" r:id="rId24"/>
    <p:sldLayoutId id="2147485899" r:id="rId25"/>
    <p:sldLayoutId id="2147485900" r:id="rId26"/>
  </p:sldLayoutIdLst>
  <p:transition>
    <p:fade/>
  </p:transition>
  <p:txStyles>
    <p:titleStyle>
      <a:lvl1pPr algn="l" defTabSz="857055" rtl="0" eaLnBrk="1" latinLnBrk="0" hangingPunct="1">
        <a:lnSpc>
          <a:spcPct val="90000"/>
        </a:lnSpc>
        <a:spcBef>
          <a:spcPct val="0"/>
        </a:spcBef>
        <a:buNone/>
        <a:defRPr lang="en-US" sz="4962"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15075" marR="0" indent="-315075" algn="l" defTabSz="857055" rtl="0" eaLnBrk="1" fontAlgn="auto" latinLnBrk="0" hangingPunct="1">
        <a:lnSpc>
          <a:spcPct val="90000"/>
        </a:lnSpc>
        <a:spcBef>
          <a:spcPct val="20000"/>
        </a:spcBef>
        <a:spcAft>
          <a:spcPts val="0"/>
        </a:spcAft>
        <a:buClrTx/>
        <a:buSzPct val="90000"/>
        <a:buFont typeface="Arial" pitchFamily="34" charset="0"/>
        <a:buChar char="•"/>
        <a:tabLst/>
        <a:defRPr sz="3675" kern="1200" spc="0" baseline="0">
          <a:gradFill>
            <a:gsLst>
              <a:gs pos="1250">
                <a:schemeClr val="tx1"/>
              </a:gs>
              <a:gs pos="100000">
                <a:schemeClr val="tx1"/>
              </a:gs>
            </a:gsLst>
            <a:lin ang="5400000" scaled="0"/>
          </a:gradFill>
          <a:latin typeface="+mj-lt"/>
          <a:ea typeface="+mn-ea"/>
          <a:cs typeface="+mn-cs"/>
        </a:defRPr>
      </a:lvl1pPr>
      <a:lvl2pPr marL="536795" marR="0" indent="-221719" algn="l" defTabSz="857055" rtl="0" eaLnBrk="1" fontAlgn="auto" latinLnBrk="0" hangingPunct="1">
        <a:lnSpc>
          <a:spcPct val="90000"/>
        </a:lnSpc>
        <a:spcBef>
          <a:spcPct val="20000"/>
        </a:spcBef>
        <a:spcAft>
          <a:spcPts val="0"/>
        </a:spcAft>
        <a:buClrTx/>
        <a:buSzPct val="90000"/>
        <a:buFont typeface="Arial" pitchFamily="34" charset="0"/>
        <a:buChar char="•"/>
        <a:tabLst/>
        <a:defRPr sz="2206" kern="1200" spc="0" baseline="0">
          <a:gradFill>
            <a:gsLst>
              <a:gs pos="1250">
                <a:schemeClr val="tx1"/>
              </a:gs>
              <a:gs pos="100000">
                <a:schemeClr val="tx1"/>
              </a:gs>
            </a:gsLst>
            <a:lin ang="5400000" scaled="0"/>
          </a:gradFill>
          <a:latin typeface="+mn-lt"/>
          <a:ea typeface="+mn-ea"/>
          <a:cs typeface="+mn-cs"/>
        </a:defRPr>
      </a:lvl2pPr>
      <a:lvl3pPr marL="7351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838" kern="1200" spc="0" baseline="0">
          <a:gradFill>
            <a:gsLst>
              <a:gs pos="1250">
                <a:schemeClr val="tx1"/>
              </a:gs>
              <a:gs pos="100000">
                <a:schemeClr val="tx1"/>
              </a:gs>
            </a:gsLst>
            <a:lin ang="5400000" scaled="0"/>
          </a:gradFill>
          <a:latin typeface="+mn-lt"/>
          <a:ea typeface="+mn-ea"/>
          <a:cs typeface="+mn-cs"/>
        </a:defRPr>
      </a:lvl3pPr>
      <a:lvl4pPr marL="945227"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2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6899"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427"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3955"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2482"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055" rtl="0" eaLnBrk="1" latinLnBrk="0" hangingPunct="1">
        <a:defRPr sz="1655" kern="1200">
          <a:solidFill>
            <a:schemeClr val="tx1"/>
          </a:solidFill>
          <a:latin typeface="+mn-lt"/>
          <a:ea typeface="+mn-ea"/>
          <a:cs typeface="+mn-cs"/>
        </a:defRPr>
      </a:lvl1pPr>
      <a:lvl2pPr marL="428526" algn="l" defTabSz="857055" rtl="0" eaLnBrk="1" latinLnBrk="0" hangingPunct="1">
        <a:defRPr sz="1655" kern="1200">
          <a:solidFill>
            <a:schemeClr val="tx1"/>
          </a:solidFill>
          <a:latin typeface="+mn-lt"/>
          <a:ea typeface="+mn-ea"/>
          <a:cs typeface="+mn-cs"/>
        </a:defRPr>
      </a:lvl2pPr>
      <a:lvl3pPr marL="857055" algn="l" defTabSz="857055" rtl="0" eaLnBrk="1" latinLnBrk="0" hangingPunct="1">
        <a:defRPr sz="1655" kern="1200">
          <a:solidFill>
            <a:schemeClr val="tx1"/>
          </a:solidFill>
          <a:latin typeface="+mn-lt"/>
          <a:ea typeface="+mn-ea"/>
          <a:cs typeface="+mn-cs"/>
        </a:defRPr>
      </a:lvl3pPr>
      <a:lvl4pPr marL="1285581" algn="l" defTabSz="857055" rtl="0" eaLnBrk="1" latinLnBrk="0" hangingPunct="1">
        <a:defRPr sz="1655" kern="1200">
          <a:solidFill>
            <a:schemeClr val="tx1"/>
          </a:solidFill>
          <a:latin typeface="+mn-lt"/>
          <a:ea typeface="+mn-ea"/>
          <a:cs typeface="+mn-cs"/>
        </a:defRPr>
      </a:lvl4pPr>
      <a:lvl5pPr marL="1714108" algn="l" defTabSz="857055" rtl="0" eaLnBrk="1" latinLnBrk="0" hangingPunct="1">
        <a:defRPr sz="1655" kern="1200">
          <a:solidFill>
            <a:schemeClr val="tx1"/>
          </a:solidFill>
          <a:latin typeface="+mn-lt"/>
          <a:ea typeface="+mn-ea"/>
          <a:cs typeface="+mn-cs"/>
        </a:defRPr>
      </a:lvl5pPr>
      <a:lvl6pPr marL="2142637" algn="l" defTabSz="857055" rtl="0" eaLnBrk="1" latinLnBrk="0" hangingPunct="1">
        <a:defRPr sz="1655" kern="1200">
          <a:solidFill>
            <a:schemeClr val="tx1"/>
          </a:solidFill>
          <a:latin typeface="+mn-lt"/>
          <a:ea typeface="+mn-ea"/>
          <a:cs typeface="+mn-cs"/>
        </a:defRPr>
      </a:lvl6pPr>
      <a:lvl7pPr marL="2571163" algn="l" defTabSz="857055" rtl="0" eaLnBrk="1" latinLnBrk="0" hangingPunct="1">
        <a:defRPr sz="1655" kern="1200">
          <a:solidFill>
            <a:schemeClr val="tx1"/>
          </a:solidFill>
          <a:latin typeface="+mn-lt"/>
          <a:ea typeface="+mn-ea"/>
          <a:cs typeface="+mn-cs"/>
        </a:defRPr>
      </a:lvl7pPr>
      <a:lvl8pPr marL="2999690" algn="l" defTabSz="857055" rtl="0" eaLnBrk="1" latinLnBrk="0" hangingPunct="1">
        <a:defRPr sz="1655" kern="1200">
          <a:solidFill>
            <a:schemeClr val="tx1"/>
          </a:solidFill>
          <a:latin typeface="+mn-lt"/>
          <a:ea typeface="+mn-ea"/>
          <a:cs typeface="+mn-cs"/>
        </a:defRPr>
      </a:lvl8pPr>
      <a:lvl9pPr marL="3428219" algn="l" defTabSz="857055" rtl="0" eaLnBrk="1" latinLnBrk="0" hangingPunct="1">
        <a:defRPr sz="165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8115393"/>
      </p:ext>
    </p:extLst>
  </p:cSld>
  <p:clrMap bg1="lt1" tx1="dk1" bg2="lt2" tx2="dk2" accent1="accent1" accent2="accent2" accent3="accent3" accent4="accent4" accent5="accent5" accent6="accent6" hlink="hlink" folHlink="folHlink"/>
  <p:sldLayoutIdLst>
    <p:sldLayoutId id="2147485914" r:id="rId1"/>
    <p:sldLayoutId id="2147485915" r:id="rId2"/>
    <p:sldLayoutId id="2147485916" r:id="rId3"/>
    <p:sldLayoutId id="2147485917" r:id="rId4"/>
    <p:sldLayoutId id="2147485918" r:id="rId5"/>
    <p:sldLayoutId id="2147485919" r:id="rId6"/>
    <p:sldLayoutId id="2147485920" r:id="rId7"/>
    <p:sldLayoutId id="2147485921" r:id="rId8"/>
    <p:sldLayoutId id="2147485922" r:id="rId9"/>
    <p:sldLayoutId id="2147485923" r:id="rId10"/>
    <p:sldLayoutId id="2147485924" r:id="rId11"/>
    <p:sldLayoutId id="2147485925" r:id="rId12"/>
    <p:sldLayoutId id="2147485926" r:id="rId13"/>
    <p:sldLayoutId id="2147485927" r:id="rId14"/>
    <p:sldLayoutId id="2147485928" r:id="rId15"/>
    <p:sldLayoutId id="2147485929" r:id="rId16"/>
    <p:sldLayoutId id="2147485930" r:id="rId17"/>
    <p:sldLayoutId id="2147485931" r:id="rId18"/>
    <p:sldLayoutId id="2147485932" r:id="rId19"/>
    <p:sldLayoutId id="2147485933" r:id="rId20"/>
    <p:sldLayoutId id="2147485934" r:id="rId21"/>
    <p:sldLayoutId id="2147485935" r:id="rId22"/>
    <p:sldLayoutId id="2147485936" r:id="rId23"/>
    <p:sldLayoutId id="2147485937" r:id="rId24"/>
    <p:sldLayoutId id="2147485938" r:id="rId25"/>
    <p:sldLayoutId id="2147485939" r:id="rId26"/>
    <p:sldLayoutId id="2147485940" r:id="rId27"/>
    <p:sldLayoutId id="2147485941" r:id="rId28"/>
    <p:sldLayoutId id="2147485942" r:id="rId29"/>
    <p:sldLayoutId id="2147485943" r:id="rId30"/>
  </p:sldLayoutIdLst>
  <p:transition>
    <p:fade/>
  </p:transition>
  <p:hf sldNum="0" hdr="0" ftr="0" dt="0"/>
  <p:txStyles>
    <p:titleStyle>
      <a:lvl1pPr algn="l" defTabSz="932575"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9"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7"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07" marR="0" indent="-19998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11" marR="0" indent="-180942"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54" marR="0" indent="-168245"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78"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4"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5" rtl="0" eaLnBrk="1" latinLnBrk="0" hangingPunct="1">
        <a:defRPr sz="1800" kern="1200">
          <a:solidFill>
            <a:schemeClr val="tx1"/>
          </a:solidFill>
          <a:latin typeface="+mn-lt"/>
          <a:ea typeface="+mn-ea"/>
          <a:cs typeface="+mn-cs"/>
        </a:defRPr>
      </a:lvl1pPr>
      <a:lvl2pPr marL="466288" algn="l" defTabSz="932575" rtl="0" eaLnBrk="1" latinLnBrk="0" hangingPunct="1">
        <a:defRPr sz="1800" kern="1200">
          <a:solidFill>
            <a:schemeClr val="tx1"/>
          </a:solidFill>
          <a:latin typeface="+mn-lt"/>
          <a:ea typeface="+mn-ea"/>
          <a:cs typeface="+mn-cs"/>
        </a:defRPr>
      </a:lvl2pPr>
      <a:lvl3pPr marL="932575" algn="l" defTabSz="932575" rtl="0" eaLnBrk="1" latinLnBrk="0" hangingPunct="1">
        <a:defRPr sz="1800" kern="1200">
          <a:solidFill>
            <a:schemeClr val="tx1"/>
          </a:solidFill>
          <a:latin typeface="+mn-lt"/>
          <a:ea typeface="+mn-ea"/>
          <a:cs typeface="+mn-cs"/>
        </a:defRPr>
      </a:lvl3pPr>
      <a:lvl4pPr marL="1398861" algn="l" defTabSz="932575" rtl="0" eaLnBrk="1" latinLnBrk="0" hangingPunct="1">
        <a:defRPr sz="1800" kern="1200">
          <a:solidFill>
            <a:schemeClr val="tx1"/>
          </a:solidFill>
          <a:latin typeface="+mn-lt"/>
          <a:ea typeface="+mn-ea"/>
          <a:cs typeface="+mn-cs"/>
        </a:defRPr>
      </a:lvl4pPr>
      <a:lvl5pPr marL="1865148" algn="l" defTabSz="932575" rtl="0" eaLnBrk="1" latinLnBrk="0" hangingPunct="1">
        <a:defRPr sz="1800" kern="1200">
          <a:solidFill>
            <a:schemeClr val="tx1"/>
          </a:solidFill>
          <a:latin typeface="+mn-lt"/>
          <a:ea typeface="+mn-ea"/>
          <a:cs typeface="+mn-cs"/>
        </a:defRPr>
      </a:lvl5pPr>
      <a:lvl6pPr marL="2331436" algn="l" defTabSz="932575" rtl="0" eaLnBrk="1" latinLnBrk="0" hangingPunct="1">
        <a:defRPr sz="1800" kern="1200">
          <a:solidFill>
            <a:schemeClr val="tx1"/>
          </a:solidFill>
          <a:latin typeface="+mn-lt"/>
          <a:ea typeface="+mn-ea"/>
          <a:cs typeface="+mn-cs"/>
        </a:defRPr>
      </a:lvl6pPr>
      <a:lvl7pPr marL="2797722" algn="l" defTabSz="932575" rtl="0" eaLnBrk="1" latinLnBrk="0" hangingPunct="1">
        <a:defRPr sz="1800" kern="1200">
          <a:solidFill>
            <a:schemeClr val="tx1"/>
          </a:solidFill>
          <a:latin typeface="+mn-lt"/>
          <a:ea typeface="+mn-ea"/>
          <a:cs typeface="+mn-cs"/>
        </a:defRPr>
      </a:lvl7pPr>
      <a:lvl8pPr marL="3264009" algn="l" defTabSz="932575" rtl="0" eaLnBrk="1" latinLnBrk="0" hangingPunct="1">
        <a:defRPr sz="1800" kern="1200">
          <a:solidFill>
            <a:schemeClr val="tx1"/>
          </a:solidFill>
          <a:latin typeface="+mn-lt"/>
          <a:ea typeface="+mn-ea"/>
          <a:cs typeface="+mn-cs"/>
        </a:defRPr>
      </a:lvl8pPr>
      <a:lvl9pPr marL="3730296" algn="l" defTabSz="93257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363472676"/>
      </p:ext>
    </p:extLst>
  </p:cSld>
  <p:clrMap bg1="lt1" tx1="dk1" bg2="lt2" tx2="dk2" accent1="accent1" accent2="accent2" accent3="accent3" accent4="accent4" accent5="accent5" accent6="accent6" hlink="hlink" folHlink="folHlink"/>
  <p:sldLayoutIdLst>
    <p:sldLayoutId id="2147485945" r:id="rId1"/>
    <p:sldLayoutId id="2147485946" r:id="rId2"/>
    <p:sldLayoutId id="2147485947" r:id="rId3"/>
    <p:sldLayoutId id="2147485948" r:id="rId4"/>
    <p:sldLayoutId id="2147485949" r:id="rId5"/>
    <p:sldLayoutId id="2147485950" r:id="rId6"/>
    <p:sldLayoutId id="2147485951" r:id="rId7"/>
    <p:sldLayoutId id="2147485952" r:id="rId8"/>
    <p:sldLayoutId id="2147485953" r:id="rId9"/>
    <p:sldLayoutId id="2147485954" r:id="rId10"/>
    <p:sldLayoutId id="2147485955" r:id="rId11"/>
    <p:sldLayoutId id="2147485956" r:id="rId12"/>
    <p:sldLayoutId id="2147485957" r:id="rId13"/>
    <p:sldLayoutId id="2147485958" r:id="rId14"/>
    <p:sldLayoutId id="2147485959" r:id="rId15"/>
    <p:sldLayoutId id="2147485960" r:id="rId16"/>
    <p:sldLayoutId id="2147485961" r:id="rId17"/>
    <p:sldLayoutId id="2147485962" r:id="rId18"/>
    <p:sldLayoutId id="2147485963" r:id="rId19"/>
    <p:sldLayoutId id="2147485964" r:id="rId20"/>
    <p:sldLayoutId id="2147485965" r:id="rId21"/>
    <p:sldLayoutId id="2147485966" r:id="rId22"/>
    <p:sldLayoutId id="2147485967" r:id="rId23"/>
    <p:sldLayoutId id="2147485968" r:id="rId24"/>
    <p:sldLayoutId id="2147485969" r:id="rId25"/>
    <p:sldLayoutId id="2147485970" r:id="rId26"/>
    <p:sldLayoutId id="2147485971" r:id="rId27"/>
    <p:sldLayoutId id="2147485972" r:id="rId28"/>
    <p:sldLayoutId id="2147485973" r:id="rId29"/>
    <p:sldLayoutId id="2147485974" r:id="rId30"/>
    <p:sldLayoutId id="2147485975" r:id="rId31"/>
    <p:sldLayoutId id="2147485976"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70006B-124B-4338-A9F4-A123D9B755E3}"/>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49BAF3-F135-4C85-93A0-8BC5C289DC56}"/>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8061E5-71AF-43EC-A939-322794A7CEF9}"/>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069D70-812D-49F3-AE4F-AFE3016276A2}" type="datetimeFigureOut">
              <a:rPr lang="en-US" smtClean="0"/>
              <a:t>3/29/2021</a:t>
            </a:fld>
            <a:endParaRPr lang="en-US"/>
          </a:p>
        </p:txBody>
      </p:sp>
      <p:sp>
        <p:nvSpPr>
          <p:cNvPr id="5" name="Footer Placeholder 4">
            <a:extLst>
              <a:ext uri="{FF2B5EF4-FFF2-40B4-BE49-F238E27FC236}">
                <a16:creationId xmlns:a16="http://schemas.microsoft.com/office/drawing/2014/main" id="{364F6177-9C41-4338-A166-4659ACBBEC07}"/>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4DF273-C14F-4140-81C2-298124CE4312}"/>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DECA40-E636-460B-A3A4-69F7B8BC940D}" type="slidenum">
              <a:rPr lang="en-US" smtClean="0"/>
              <a:t>‹#›</a:t>
            </a:fld>
            <a:endParaRPr lang="en-US"/>
          </a:p>
        </p:txBody>
      </p:sp>
    </p:spTree>
    <p:extLst>
      <p:ext uri="{BB962C8B-B14F-4D97-AF65-F5344CB8AC3E}">
        <p14:creationId xmlns:p14="http://schemas.microsoft.com/office/powerpoint/2010/main" val="2440249387"/>
      </p:ext>
    </p:extLst>
  </p:cSld>
  <p:clrMap bg1="lt1" tx1="dk1" bg2="lt2" tx2="dk2" accent1="accent1" accent2="accent2" accent3="accent3" accent4="accent4" accent5="accent5" accent6="accent6" hlink="hlink" folHlink="folHlink"/>
  <p:sldLayoutIdLst>
    <p:sldLayoutId id="2147485978" r:id="rId1"/>
    <p:sldLayoutId id="2147485979" r:id="rId2"/>
    <p:sldLayoutId id="2147485980" r:id="rId3"/>
    <p:sldLayoutId id="2147485981" r:id="rId4"/>
    <p:sldLayoutId id="2147485982" r:id="rId5"/>
    <p:sldLayoutId id="2147485983" r:id="rId6"/>
    <p:sldLayoutId id="2147485984" r:id="rId7"/>
    <p:sldLayoutId id="2147485985" r:id="rId8"/>
    <p:sldLayoutId id="2147485986" r:id="rId9"/>
    <p:sldLayoutId id="2147485987" r:id="rId10"/>
    <p:sldLayoutId id="2147485988" r:id="rId11"/>
    <p:sldLayoutId id="2147485989" r:id="rId12"/>
    <p:sldLayoutId id="2147485990" r:id="rId13"/>
    <p:sldLayoutId id="2147485991" r:id="rId14"/>
    <p:sldLayoutId id="2147485992" r:id="rId15"/>
    <p:sldLayoutId id="2147485993" r:id="rId16"/>
    <p:sldLayoutId id="2147485994" r:id="rId17"/>
    <p:sldLayoutId id="2147485995" r:id="rId18"/>
    <p:sldLayoutId id="2147485996" r:id="rId19"/>
    <p:sldLayoutId id="2147485997" r:id="rId20"/>
    <p:sldLayoutId id="2147485998" r:id="rId21"/>
    <p:sldLayoutId id="2147485999" r:id="rId22"/>
    <p:sldLayoutId id="2147486000" r:id="rId23"/>
    <p:sldLayoutId id="2147486001" r:id="rId24"/>
    <p:sldLayoutId id="2147486002" r:id="rId25"/>
    <p:sldLayoutId id="2147486003" r:id="rId26"/>
    <p:sldLayoutId id="2147486004" r:id="rId27"/>
    <p:sldLayoutId id="2147486005" r:id="rId28"/>
    <p:sldLayoutId id="2147486006" r:id="rId29"/>
    <p:sldLayoutId id="2147486007" r:id="rId30"/>
    <p:sldLayoutId id="2147486008" r:id="rId31"/>
    <p:sldLayoutId id="2147486009" r:id="rId32"/>
    <p:sldLayoutId id="2147486010" r:id="rId33"/>
    <p:sldLayoutId id="2147486011" r:id="rId34"/>
    <p:sldLayoutId id="2147486012" r:id="rId35"/>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959855153"/>
      </p:ext>
    </p:extLst>
  </p:cSld>
  <p:clrMap bg1="lt1" tx1="dk1" bg2="lt2" tx2="dk2" accent1="accent1" accent2="accent2" accent3="accent3" accent4="accent4" accent5="accent5" accent6="accent6" hlink="hlink" folHlink="folHlink"/>
  <p:sldLayoutIdLst>
    <p:sldLayoutId id="2147486014" r:id="rId1"/>
    <p:sldLayoutId id="2147486015" r:id="rId2"/>
    <p:sldLayoutId id="2147486016" r:id="rId3"/>
    <p:sldLayoutId id="2147486017" r:id="rId4"/>
    <p:sldLayoutId id="2147486018" r:id="rId5"/>
    <p:sldLayoutId id="2147486019" r:id="rId6"/>
    <p:sldLayoutId id="2147486020" r:id="rId7"/>
    <p:sldLayoutId id="2147486021" r:id="rId8"/>
    <p:sldLayoutId id="2147486022" r:id="rId9"/>
    <p:sldLayoutId id="2147486023" r:id="rId10"/>
    <p:sldLayoutId id="2147486024" r:id="rId11"/>
    <p:sldLayoutId id="2147486025" r:id="rId12"/>
    <p:sldLayoutId id="2147486026" r:id="rId13"/>
    <p:sldLayoutId id="2147486027" r:id="rId14"/>
    <p:sldLayoutId id="2147486028" r:id="rId15"/>
    <p:sldLayoutId id="2147486029" r:id="rId16"/>
    <p:sldLayoutId id="2147486030" r:id="rId17"/>
    <p:sldLayoutId id="2147486031" r:id="rId18"/>
    <p:sldLayoutId id="2147486032" r:id="rId19"/>
    <p:sldLayoutId id="2147486033" r:id="rId20"/>
    <p:sldLayoutId id="2147486034" r:id="rId21"/>
    <p:sldLayoutId id="2147486035" r:id="rId22"/>
    <p:sldLayoutId id="2147486036" r:id="rId23"/>
    <p:sldLayoutId id="2147486037" r:id="rId24"/>
    <p:sldLayoutId id="2147486038" r:id="rId25"/>
    <p:sldLayoutId id="2147486039" r:id="rId26"/>
    <p:sldLayoutId id="2147486040" r:id="rId27"/>
    <p:sldLayoutId id="2147486041" r:id="rId28"/>
    <p:sldLayoutId id="2147486042" r:id="rId29"/>
    <p:sldLayoutId id="2147486043" r:id="rId30"/>
    <p:sldLayoutId id="2147486044" r:id="rId31"/>
    <p:sldLayoutId id="2147486045" r:id="rId32"/>
    <p:sldLayoutId id="2147486046" r:id="rId33"/>
  </p:sldLayoutIdLst>
  <p:transition>
    <p:fade/>
  </p:transition>
  <p:hf hdr="0" dt="0"/>
  <p:txStyles>
    <p:titleStyle>
      <a:lvl1pPr algn="l" defTabSz="914093" rtl="0" eaLnBrk="1" latinLnBrk="0" hangingPunct="1">
        <a:lnSpc>
          <a:spcPct val="90000"/>
        </a:lnSpc>
        <a:spcBef>
          <a:spcPct val="0"/>
        </a:spcBef>
        <a:buNone/>
        <a:defRPr lang="en-US" sz="2744"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2352" kern="1200" spc="-49" baseline="0">
          <a:solidFill>
            <a:srgbClr val="000000"/>
          </a:solidFill>
          <a:latin typeface="+mj-lt"/>
          <a:ea typeface="+mn-ea"/>
          <a:cs typeface="+mn-cs"/>
        </a:defRPr>
      </a:lvl1pPr>
      <a:lvl2pPr marL="0" marR="0" indent="0" algn="l" defTabSz="914093" rtl="0" eaLnBrk="1" fontAlgn="auto" latinLnBrk="0" hangingPunct="1">
        <a:lnSpc>
          <a:spcPct val="100000"/>
        </a:lnSpc>
        <a:spcBef>
          <a:spcPts val="0"/>
        </a:spcBef>
        <a:spcAft>
          <a:spcPts val="0"/>
        </a:spcAft>
        <a:buClrTx/>
        <a:buSzPct val="90000"/>
        <a:buFontTx/>
        <a:buNone/>
        <a:tabLst/>
        <a:defRPr sz="1960" kern="1200" spc="0" baseline="0">
          <a:solidFill>
            <a:srgbClr val="000000"/>
          </a:solidFill>
          <a:latin typeface="+mn-lt"/>
          <a:ea typeface="+mn-ea"/>
          <a:cs typeface="+mn-cs"/>
        </a:defRPr>
      </a:lvl2pPr>
      <a:lvl3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230" indent="0" algn="l" defTabSz="914093" rtl="0" eaLnBrk="1" latinLnBrk="0" hangingPunct="1">
        <a:spcBef>
          <a:spcPct val="20000"/>
        </a:spcBef>
        <a:buFont typeface="Arial" pitchFamily="34" charset="0"/>
        <a:buNone/>
        <a:defRPr sz="1960" kern="1200">
          <a:solidFill>
            <a:schemeClr val="tx1"/>
          </a:solidFill>
          <a:latin typeface="+mn-lt"/>
          <a:ea typeface="+mn-ea"/>
          <a:cs typeface="+mn-cs"/>
        </a:defRPr>
      </a:lvl6pPr>
      <a:lvl7pPr marL="0" indent="0" algn="l" defTabSz="914093"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1805966571"/>
      </p:ext>
    </p:extLst>
  </p:cSld>
  <p:clrMap bg1="lt1" tx1="dk1" bg2="lt2" tx2="dk2" accent1="accent1" accent2="accent2" accent3="accent3" accent4="accent4" accent5="accent5" accent6="accent6" hlink="hlink" folHlink="folHlink"/>
  <p:sldLayoutIdLst>
    <p:sldLayoutId id="2147486048" r:id="rId1"/>
    <p:sldLayoutId id="2147486049" r:id="rId2"/>
    <p:sldLayoutId id="2147486050" r:id="rId3"/>
    <p:sldLayoutId id="2147486051" r:id="rId4"/>
    <p:sldLayoutId id="2147486052" r:id="rId5"/>
    <p:sldLayoutId id="2147486053" r:id="rId6"/>
    <p:sldLayoutId id="2147486054" r:id="rId7"/>
    <p:sldLayoutId id="2147486055" r:id="rId8"/>
    <p:sldLayoutId id="2147486056" r:id="rId9"/>
    <p:sldLayoutId id="2147486057" r:id="rId10"/>
    <p:sldLayoutId id="2147486058" r:id="rId11"/>
    <p:sldLayoutId id="2147486059" r:id="rId12"/>
    <p:sldLayoutId id="2147486060" r:id="rId13"/>
    <p:sldLayoutId id="2147486061" r:id="rId14"/>
    <p:sldLayoutId id="2147486063" r:id="rId15"/>
    <p:sldLayoutId id="2147486064" r:id="rId16"/>
    <p:sldLayoutId id="2147486065" r:id="rId17"/>
    <p:sldLayoutId id="2147486066" r:id="rId18"/>
    <p:sldLayoutId id="2147486067" r:id="rId19"/>
    <p:sldLayoutId id="2147486068" r:id="rId20"/>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89279386"/>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3" r:id="rId33"/>
    <p:sldLayoutId id="2147486104" r:id="rId34"/>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42048041"/>
      </p:ext>
    </p:extLst>
  </p:cSld>
  <p:clrMap bg1="lt1" tx1="dk1" bg2="lt2" tx2="dk2" accent1="accent1" accent2="accent2" accent3="accent3" accent4="accent4" accent5="accent5" accent6="accent6" hlink="hlink" folHlink="folHlink"/>
  <p:sldLayoutIdLst>
    <p:sldLayoutId id="2147486106" r:id="rId1"/>
    <p:sldLayoutId id="2147486107" r:id="rId2"/>
    <p:sldLayoutId id="2147486108" r:id="rId3"/>
    <p:sldLayoutId id="2147486109" r:id="rId4"/>
    <p:sldLayoutId id="2147486110" r:id="rId5"/>
    <p:sldLayoutId id="2147486111" r:id="rId6"/>
    <p:sldLayoutId id="2147486112" r:id="rId7"/>
    <p:sldLayoutId id="2147486113" r:id="rId8"/>
    <p:sldLayoutId id="2147486114" r:id="rId9"/>
    <p:sldLayoutId id="2147486115" r:id="rId10"/>
    <p:sldLayoutId id="2147486116" r:id="rId11"/>
    <p:sldLayoutId id="2147486117" r:id="rId12"/>
    <p:sldLayoutId id="2147486118" r:id="rId13"/>
    <p:sldLayoutId id="2147486119" r:id="rId14"/>
    <p:sldLayoutId id="2147486120" r:id="rId15"/>
    <p:sldLayoutId id="2147486121" r:id="rId16"/>
    <p:sldLayoutId id="2147486122" r:id="rId17"/>
    <p:sldLayoutId id="2147486123" r:id="rId18"/>
    <p:sldLayoutId id="2147486124" r:id="rId19"/>
    <p:sldLayoutId id="2147486125" r:id="rId20"/>
    <p:sldLayoutId id="2147486126" r:id="rId21"/>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72932082"/>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43" r:id="rId16"/>
    <p:sldLayoutId id="2147486144" r:id="rId17"/>
    <p:sldLayoutId id="2147486145" r:id="rId18"/>
    <p:sldLayoutId id="2147486146" r:id="rId19"/>
    <p:sldLayoutId id="2147486147" r:id="rId20"/>
    <p:sldLayoutId id="2147486148" r:id="rId21"/>
    <p:sldLayoutId id="2147486149" r:id="rId22"/>
    <p:sldLayoutId id="2147486150" r:id="rId23"/>
    <p:sldLayoutId id="2147486151" r:id="rId24"/>
    <p:sldLayoutId id="2147486152" r:id="rId25"/>
    <p:sldLayoutId id="2147486153" r:id="rId26"/>
    <p:sldLayoutId id="2147486154" r:id="rId27"/>
    <p:sldLayoutId id="2147486155" r:id="rId28"/>
    <p:sldLayoutId id="2147486156" r:id="rId29"/>
    <p:sldLayoutId id="2147486157" r:id="rId30"/>
    <p:sldLayoutId id="2147486158" r:id="rId31"/>
    <p:sldLayoutId id="2147486159" r:id="rId32"/>
    <p:sldLayoutId id="2147486160" r:id="rId33"/>
    <p:sldLayoutId id="2147486161" r:id="rId34"/>
    <p:sldLayoutId id="2147486162" r:id="rId3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pic>
        <p:nvPicPr>
          <p:cNvPr id="6" name="Picture 5">
            <a:extLst>
              <a:ext uri="{FF2B5EF4-FFF2-40B4-BE49-F238E27FC236}">
                <a16:creationId xmlns:a16="http://schemas.microsoft.com/office/drawing/2014/main" id="{C5207DFE-8813-4D3D-9F64-52EE12EA563C}"/>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729968" y="109022"/>
            <a:ext cx="1335673" cy="190278"/>
          </a:xfrm>
          <a:prstGeom prst="rect">
            <a:avLst/>
          </a:prstGeom>
        </p:spPr>
      </p:pic>
    </p:spTree>
    <p:extLst>
      <p:ext uri="{BB962C8B-B14F-4D97-AF65-F5344CB8AC3E}">
        <p14:creationId xmlns:p14="http://schemas.microsoft.com/office/powerpoint/2010/main" val="4109590814"/>
      </p:ext>
    </p:extLst>
  </p:cSld>
  <p:clrMap bg1="lt1" tx1="dk1" bg2="lt2" tx2="dk2" accent1="accent1" accent2="accent2" accent3="accent3" accent4="accent4" accent5="accent5" accent6="accent6" hlink="hlink" folHlink="folHlink"/>
  <p:sldLayoutIdLst>
    <p:sldLayoutId id="2147486164" r:id="rId1"/>
    <p:sldLayoutId id="2147486165" r:id="rId2"/>
    <p:sldLayoutId id="2147486166" r:id="rId3"/>
    <p:sldLayoutId id="2147486167" r:id="rId4"/>
    <p:sldLayoutId id="2147486168" r:id="rId5"/>
    <p:sldLayoutId id="2147486169" r:id="rId6"/>
    <p:sldLayoutId id="2147486170" r:id="rId7"/>
    <p:sldLayoutId id="2147486171" r:id="rId8"/>
    <p:sldLayoutId id="2147486172" r:id="rId9"/>
    <p:sldLayoutId id="2147486174" r:id="rId10"/>
    <p:sldLayoutId id="2147486175" r:id="rId11"/>
    <p:sldLayoutId id="2147486176" r:id="rId12"/>
    <p:sldLayoutId id="2147486177" r:id="rId13"/>
    <p:sldLayoutId id="2147486178" r:id="rId14"/>
    <p:sldLayoutId id="2147486179" r:id="rId15"/>
    <p:sldLayoutId id="2147486180" r:id="rId16"/>
    <p:sldLayoutId id="2147486182" r:id="rId17"/>
    <p:sldLayoutId id="2147486183" r:id="rId18"/>
    <p:sldLayoutId id="2147486184" r:id="rId19"/>
    <p:sldLayoutId id="2147486185" r:id="rId20"/>
    <p:sldLayoutId id="2147486186" r:id="rId21"/>
    <p:sldLayoutId id="2147486187" r:id="rId22"/>
    <p:sldLayoutId id="2147486188" r:id="rId23"/>
  </p:sldLayoutIdLst>
  <p:transition>
    <p:fade/>
  </p:transition>
  <p:hf sldNum="0" hdr="0" ft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3643344"/>
      </p:ext>
    </p:extLst>
  </p:cSld>
  <p:clrMap bg1="dk1" tx1="lt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8810929"/>
      </p:ext>
    </p:extLst>
  </p:cSld>
  <p:clrMap bg1="lt1" tx1="dk1" bg2="lt2" tx2="dk2" accent1="accent1" accent2="accent2" accent3="accent3" accent4="accent4" accent5="accent5" accent6="accent6" hlink="hlink" folHlink="folHlink"/>
  <p:sldLayoutIdLst>
    <p:sldLayoutId id="2147486190" r:id="rId1"/>
    <p:sldLayoutId id="2147486191" r:id="rId2"/>
    <p:sldLayoutId id="2147486192" r:id="rId3"/>
    <p:sldLayoutId id="2147486193" r:id="rId4"/>
    <p:sldLayoutId id="2147486194" r:id="rId5"/>
    <p:sldLayoutId id="2147486195" r:id="rId6"/>
    <p:sldLayoutId id="2147486196" r:id="rId7"/>
    <p:sldLayoutId id="2147486197" r:id="rId8"/>
    <p:sldLayoutId id="2147486198" r:id="rId9"/>
    <p:sldLayoutId id="2147486199" r:id="rId10"/>
    <p:sldLayoutId id="2147486200" r:id="rId11"/>
    <p:sldLayoutId id="2147486201" r:id="rId12"/>
    <p:sldLayoutId id="2147486202" r:id="rId13"/>
    <p:sldLayoutId id="2147486203" r:id="rId14"/>
    <p:sldLayoutId id="2147486204" r:id="rId15"/>
    <p:sldLayoutId id="2147486205" r:id="rId16"/>
    <p:sldLayoutId id="2147486206" r:id="rId17"/>
    <p:sldLayoutId id="2147486207" r:id="rId18"/>
    <p:sldLayoutId id="2147486208" r:id="rId19"/>
    <p:sldLayoutId id="2147486209" r:id="rId20"/>
    <p:sldLayoutId id="2147486210" r:id="rId21"/>
    <p:sldLayoutId id="2147486211" r:id="rId22"/>
    <p:sldLayoutId id="2147486212" r:id="rId23"/>
    <p:sldLayoutId id="2147486213" r:id="rId24"/>
    <p:sldLayoutId id="2147486214" r:id="rId25"/>
    <p:sldLayoutId id="2147486215" r:id="rId26"/>
    <p:sldLayoutId id="2147486216" r:id="rId27"/>
    <p:sldLayoutId id="2147486217" r:id="rId28"/>
    <p:sldLayoutId id="2147486218" r:id="rId29"/>
    <p:sldLayoutId id="2147486219" r:id="rId30"/>
    <p:sldLayoutId id="2147486220" r:id="rId31"/>
    <p:sldLayoutId id="2147486221" r:id="rId32"/>
    <p:sldLayoutId id="2147486222" r:id="rId33"/>
    <p:sldLayoutId id="2147486223" r:id="rId34"/>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95391048"/>
      </p:ext>
    </p:extLst>
  </p:cSld>
  <p:clrMap bg1="dk1" tx1="lt1" bg2="dk2" tx2="lt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 id="2147485662" r:id="rId24"/>
    <p:sldLayoutId id="2147485663" r:id="rId25"/>
    <p:sldLayoutId id="2147485664" r:id="rId26"/>
    <p:sldLayoutId id="2147485665" r:id="rId27"/>
    <p:sldLayoutId id="2147485666" r:id="rId28"/>
    <p:sldLayoutId id="2147485667" r:id="rId29"/>
    <p:sldLayoutId id="2147485668" r:id="rId30"/>
    <p:sldLayoutId id="2147485669" r:id="rId31"/>
    <p:sldLayoutId id="2147485670" r:id="rId32"/>
    <p:sldLayoutId id="2147485671" r:id="rId33"/>
  </p:sldLayoutIdLst>
  <p:transition advClick="0" advTm="20000">
    <p:push dir="u"/>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56451558"/>
      </p:ext>
    </p:extLst>
  </p:cSld>
  <p:clrMap bg1="dk1" tx1="lt1" bg2="dk2" tx2="lt2" accent1="accent1" accent2="accent2" accent3="accent3" accent4="accent4" accent5="accent5" accent6="accent6" hlink="hlink" folHlink="folHlink"/>
  <p:sldLayoutIdLst>
    <p:sldLayoutId id="2147485673" r:id="rId1"/>
    <p:sldLayoutId id="2147485674" r:id="rId2"/>
    <p:sldLayoutId id="2147485675" r:id="rId3"/>
    <p:sldLayoutId id="2147485676" r:id="rId4"/>
    <p:sldLayoutId id="2147485677" r:id="rId5"/>
    <p:sldLayoutId id="2147485678" r:id="rId6"/>
    <p:sldLayoutId id="2147485679" r:id="rId7"/>
    <p:sldLayoutId id="2147485680" r:id="rId8"/>
    <p:sldLayoutId id="2147485681" r:id="rId9"/>
    <p:sldLayoutId id="2147485682" r:id="rId10"/>
    <p:sldLayoutId id="2147485683" r:id="rId11"/>
    <p:sldLayoutId id="2147485684" r:id="rId12"/>
    <p:sldLayoutId id="2147485685" r:id="rId13"/>
    <p:sldLayoutId id="2147485686" r:id="rId14"/>
    <p:sldLayoutId id="2147485687" r:id="rId15"/>
    <p:sldLayoutId id="2147485688" r:id="rId16"/>
    <p:sldLayoutId id="2147485689" r:id="rId17"/>
    <p:sldLayoutId id="2147485690" r:id="rId18"/>
    <p:sldLayoutId id="2147485691" r:id="rId19"/>
    <p:sldLayoutId id="2147485692" r:id="rId20"/>
    <p:sldLayoutId id="2147485693" r:id="rId21"/>
    <p:sldLayoutId id="2147485694" r:id="rId22"/>
    <p:sldLayoutId id="2147485695" r:id="rId23"/>
    <p:sldLayoutId id="2147485696" r:id="rId24"/>
    <p:sldLayoutId id="2147485697" r:id="rId25"/>
    <p:sldLayoutId id="2147485698" r:id="rId26"/>
    <p:sldLayoutId id="2147485699" r:id="rId27"/>
    <p:sldLayoutId id="2147485700" r:id="rId28"/>
    <p:sldLayoutId id="2147485701" r:id="rId29"/>
    <p:sldLayoutId id="2147485702" r:id="rId30"/>
    <p:sldLayoutId id="2147485703" r:id="rId31"/>
    <p:sldLayoutId id="2147485704" r:id="rId32"/>
    <p:sldLayoutId id="2147485705" r:id="rId33"/>
    <p:sldLayoutId id="2147485706" r:id="rId34"/>
    <p:sldLayoutId id="2147485707" r:id="rId35"/>
    <p:sldLayoutId id="2147485708" r:id="rId36"/>
    <p:sldLayoutId id="2147485709" r:id="rId37"/>
    <p:sldLayoutId id="2147485710" r:id="rId38"/>
    <p:sldLayoutId id="2147485711" r:id="rId39"/>
    <p:sldLayoutId id="2147485712" r:id="rId40"/>
    <p:sldLayoutId id="2147485713" r:id="rId41"/>
    <p:sldLayoutId id="2147485714"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72327239"/>
      </p:ext>
    </p:extLst>
  </p:cSld>
  <p:clrMap bg1="lt1" tx1="dk1" bg2="lt2" tx2="dk2" accent1="accent1" accent2="accent2" accent3="accent3" accent4="accent4" accent5="accent5" accent6="accent6" hlink="hlink" folHlink="folHlink"/>
  <p:sldLayoutIdLst>
    <p:sldLayoutId id="2147485733" r:id="rId1"/>
    <p:sldLayoutId id="2147485734" r:id="rId2"/>
    <p:sldLayoutId id="2147485735" r:id="rId3"/>
    <p:sldLayoutId id="2147485736" r:id="rId4"/>
    <p:sldLayoutId id="2147485737" r:id="rId5"/>
    <p:sldLayoutId id="2147485738" r:id="rId6"/>
    <p:sldLayoutId id="2147485739" r:id="rId7"/>
    <p:sldLayoutId id="2147485740" r:id="rId8"/>
    <p:sldLayoutId id="2147485741" r:id="rId9"/>
    <p:sldLayoutId id="2147485742" r:id="rId10"/>
    <p:sldLayoutId id="2147485743" r:id="rId11"/>
    <p:sldLayoutId id="2147485744" r:id="rId12"/>
    <p:sldLayoutId id="2147485745" r:id="rId13"/>
    <p:sldLayoutId id="2147485746" r:id="rId14"/>
    <p:sldLayoutId id="2147485747" r:id="rId15"/>
    <p:sldLayoutId id="2147485748" r:id="rId16"/>
    <p:sldLayoutId id="2147485749" r:id="rId17"/>
    <p:sldLayoutId id="2147485750" r:id="rId18"/>
    <p:sldLayoutId id="2147485751" r:id="rId19"/>
    <p:sldLayoutId id="2147485752" r:id="rId20"/>
    <p:sldLayoutId id="2147485753" r:id="rId21"/>
    <p:sldLayoutId id="2147485754" r:id="rId22"/>
    <p:sldLayoutId id="2147485755" r:id="rId23"/>
    <p:sldLayoutId id="2147485756" r:id="rId24"/>
    <p:sldLayoutId id="2147485757" r:id="rId25"/>
    <p:sldLayoutId id="2147485758" r:id="rId26"/>
    <p:sldLayoutId id="2147485759" r:id="rId27"/>
    <p:sldLayoutId id="2147485760" r:id="rId28"/>
    <p:sldLayoutId id="2147485761" r:id="rId29"/>
    <p:sldLayoutId id="2147485762" r:id="rId30"/>
    <p:sldLayoutId id="2147485763" r:id="rId31"/>
    <p:sldLayoutId id="214748576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55909823"/>
      </p:ext>
    </p:extLst>
  </p:cSld>
  <p:clrMap bg1="lt1" tx1="dk1" bg2="lt2" tx2="dk2" accent1="accent1" accent2="accent2" accent3="accent3" accent4="accent4" accent5="accent5" accent6="accent6" hlink="hlink" folHlink="folHlink"/>
  <p:sldLayoutIdLst>
    <p:sldLayoutId id="2147485766" r:id="rId1"/>
    <p:sldLayoutId id="2147485767" r:id="rId2"/>
    <p:sldLayoutId id="2147485768" r:id="rId3"/>
    <p:sldLayoutId id="2147485769" r:id="rId4"/>
    <p:sldLayoutId id="2147485770" r:id="rId5"/>
    <p:sldLayoutId id="2147485771" r:id="rId6"/>
    <p:sldLayoutId id="2147485772" r:id="rId7"/>
    <p:sldLayoutId id="2147485773" r:id="rId8"/>
    <p:sldLayoutId id="2147485774" r:id="rId9"/>
    <p:sldLayoutId id="2147485775" r:id="rId10"/>
    <p:sldLayoutId id="2147485776" r:id="rId11"/>
    <p:sldLayoutId id="2147485777" r:id="rId12"/>
    <p:sldLayoutId id="2147485778" r:id="rId13"/>
    <p:sldLayoutId id="2147485779" r:id="rId14"/>
    <p:sldLayoutId id="2147485780" r:id="rId15"/>
    <p:sldLayoutId id="2147485781" r:id="rId16"/>
    <p:sldLayoutId id="2147485782" r:id="rId17"/>
    <p:sldLayoutId id="2147485783" r:id="rId18"/>
    <p:sldLayoutId id="2147485784" r:id="rId19"/>
    <p:sldLayoutId id="2147485785" r:id="rId20"/>
    <p:sldLayoutId id="2147485786" r:id="rId21"/>
    <p:sldLayoutId id="2147485787" r:id="rId22"/>
    <p:sldLayoutId id="2147485788" r:id="rId23"/>
    <p:sldLayoutId id="2147485789" r:id="rId24"/>
    <p:sldLayoutId id="2147485790" r:id="rId25"/>
    <p:sldLayoutId id="2147485791" r:id="rId26"/>
    <p:sldLayoutId id="2147485792" r:id="rId27"/>
    <p:sldLayoutId id="2147485793" r:id="rId28"/>
    <p:sldLayoutId id="2147485794" r:id="rId29"/>
    <p:sldLayoutId id="2147485795" r:id="rId30"/>
    <p:sldLayoutId id="2147485796" r:id="rId31"/>
    <p:sldLayoutId id="2147485797" r:id="rId32"/>
    <p:sldLayoutId id="2147485798" r:id="rId33"/>
    <p:sldLayoutId id="2147485799" r:id="rId34"/>
    <p:sldLayoutId id="2147485800" r:id="rId35"/>
    <p:sldLayoutId id="2147485801" r:id="rId36"/>
    <p:sldLayoutId id="2147485802" r:id="rId37"/>
    <p:sldLayoutId id="2147485803" r:id="rId38"/>
    <p:sldLayoutId id="2147485804" r:id="rId39"/>
    <p:sldLayoutId id="2147485805" r:id="rId40"/>
    <p:sldLayoutId id="2147485806" r:id="rId41"/>
    <p:sldLayoutId id="214748580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3453609" y="6626978"/>
            <a:ext cx="527913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a:solidFill>
                  <a:schemeClr val="tx1">
                    <a:alpha val="60000"/>
                  </a:schemeClr>
                </a:solidFill>
              </a:rPr>
              <a:t>MICROSOFT CONFIDENTIAL – NON-DISCLOSURE AGREEMENT REQUIRED</a:t>
            </a:r>
          </a:p>
        </p:txBody>
      </p:sp>
    </p:spTree>
    <p:extLst>
      <p:ext uri="{BB962C8B-B14F-4D97-AF65-F5344CB8AC3E}">
        <p14:creationId xmlns:p14="http://schemas.microsoft.com/office/powerpoint/2010/main" val="253988016"/>
      </p:ext>
    </p:extLst>
  </p:cSld>
  <p:clrMap bg1="dk1" tx1="lt1" bg2="dk2" tx2="lt2" accent1="accent1" accent2="accent2" accent3="accent3" accent4="accent4" accent5="accent5" accent6="accent6" hlink="hlink" folHlink="folHlink"/>
  <p:sldLayoutIdLst>
    <p:sldLayoutId id="2147485810" r:id="rId1"/>
    <p:sldLayoutId id="2147485811" r:id="rId2"/>
    <p:sldLayoutId id="2147485812" r:id="rId3"/>
    <p:sldLayoutId id="2147485813" r:id="rId4"/>
    <p:sldLayoutId id="2147485814" r:id="rId5"/>
    <p:sldLayoutId id="2147485815" r:id="rId6"/>
    <p:sldLayoutId id="2147485816" r:id="rId7"/>
    <p:sldLayoutId id="2147485817" r:id="rId8"/>
    <p:sldLayoutId id="2147485818" r:id="rId9"/>
    <p:sldLayoutId id="2147485819" r:id="rId10"/>
    <p:sldLayoutId id="2147485820" r:id="rId11"/>
    <p:sldLayoutId id="2147485821" r:id="rId12"/>
    <p:sldLayoutId id="2147485822" r:id="rId13"/>
    <p:sldLayoutId id="2147485823" r:id="rId14"/>
    <p:sldLayoutId id="2147485824" r:id="rId15"/>
    <p:sldLayoutId id="2147485825" r:id="rId16"/>
    <p:sldLayoutId id="2147485826" r:id="rId17"/>
    <p:sldLayoutId id="2147485827" r:id="rId18"/>
    <p:sldLayoutId id="2147485828" r:id="rId19"/>
    <p:sldLayoutId id="2147485829" r:id="rId20"/>
    <p:sldLayoutId id="2147485830" r:id="rId21"/>
    <p:sldLayoutId id="2147485831" r:id="rId22"/>
    <p:sldLayoutId id="2147485832" r:id="rId23"/>
    <p:sldLayoutId id="2147485833" r:id="rId24"/>
    <p:sldLayoutId id="2147485834" r:id="rId25"/>
    <p:sldLayoutId id="2147485835" r:id="rId26"/>
    <p:sldLayoutId id="2147485836" r:id="rId27"/>
    <p:sldLayoutId id="2147485837" r:id="rId28"/>
    <p:sldLayoutId id="2147485838" r:id="rId29"/>
    <p:sldLayoutId id="2147485839" r:id="rId30"/>
    <p:sldLayoutId id="2147485840" r:id="rId31"/>
    <p:sldLayoutId id="2147485841" r:id="rId32"/>
    <p:sldLayoutId id="2147485842" r:id="rId33"/>
    <p:sldLayoutId id="2147485843" r:id="rId34"/>
    <p:sldLayoutId id="2147485844" r:id="rId35"/>
    <p:sldLayoutId id="2147485845" r:id="rId36"/>
    <p:sldLayoutId id="2147485846" r:id="rId37"/>
    <p:sldLayoutId id="214748584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20486"/>
      </p:ext>
    </p:extLst>
  </p:cSld>
  <p:clrMap bg1="dk1" tx1="lt1" bg2="dk2" tx2="lt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 id="2147485858" r:id="rId10"/>
  </p:sldLayoutIdLst>
  <p:transition spd="med"/>
  <p:txStyles>
    <p:titleStyle>
      <a:lvl1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1pPr>
      <a:lvl2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2pPr>
      <a:lvl3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3pPr>
      <a:lvl4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4pPr>
      <a:lvl5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5pPr>
      <a:lvl6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6pPr>
      <a:lvl7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7pPr>
      <a:lvl8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8pPr>
      <a:lvl9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9pPr>
    </p:titleStyle>
    <p:bodyStyle>
      <a:lvl1pPr marL="740685"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1pPr>
      <a:lvl2pPr marL="1058121"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2pPr>
      <a:lvl3pPr marL="1375558"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3pPr>
      <a:lvl4pPr marL="1692994"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4pPr>
      <a:lvl5pPr marL="2010431"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5pPr>
      <a:lvl6pPr marL="2327867"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6pPr>
      <a:lvl7pPr marL="2645304"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7pPr>
      <a:lvl8pPr marL="2962740"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8pPr>
      <a:lvl9pPr marL="3280177"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9pPr>
    </p:bodyStyle>
    <p:otherStyle>
      <a:lvl1pPr marL="0" marR="0" indent="0"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77"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54"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31"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09"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386"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663"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799940"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217"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extLst>
    <p:ext uri="{27BBF7A9-308A-43DC-89C8-2F10F3537804}">
      <p15:sldGuideLst xmlns:p15="http://schemas.microsoft.com/office/powerpoint/2012/main">
        <p15:guide id="1" pos="3839">
          <p15:clr>
            <a:srgbClr val="F26B43"/>
          </p15:clr>
        </p15:guide>
        <p15:guide id="2" orient="horz" pos="2160">
          <p15:clr>
            <a:srgbClr val="F26B43"/>
          </p15:clr>
        </p15:guide>
        <p15:guide id="3" pos="7319">
          <p15:clr>
            <a:srgbClr val="F26B43"/>
          </p15:clr>
        </p15:guide>
        <p15:guide id="4" orient="horz" pos="3960">
          <p15:clr>
            <a:srgbClr val="F26B43"/>
          </p15:clr>
        </p15:guide>
        <p15:guide id="5" pos="359">
          <p15:clr>
            <a:srgbClr val="F26B43"/>
          </p15:clr>
        </p15:guide>
        <p15:guide id="6" orient="horz" pos="3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878373591"/>
      </p:ext>
    </p:extLst>
  </p:cSld>
  <p:clrMap bg1="lt1" tx1="dk1" bg2="lt2" tx2="dk2" accent1="accent1" accent2="accent2" accent3="accent3" accent4="accent4" accent5="accent5" accent6="accent6" hlink="hlink" folHlink="folHlink"/>
  <p:sldLayoutIdLst>
    <p:sldLayoutId id="2147485860" r:id="rId1"/>
    <p:sldLayoutId id="2147485861" r:id="rId2"/>
    <p:sldLayoutId id="2147485862" r:id="rId3"/>
    <p:sldLayoutId id="2147485863" r:id="rId4"/>
    <p:sldLayoutId id="2147485864" r:id="rId5"/>
    <p:sldLayoutId id="2147485865" r:id="rId6"/>
    <p:sldLayoutId id="2147485866" r:id="rId7"/>
    <p:sldLayoutId id="2147485867" r:id="rId8"/>
    <p:sldLayoutId id="2147485868" r:id="rId9"/>
    <p:sldLayoutId id="2147485870" r:id="rId10"/>
    <p:sldLayoutId id="2147485871" r:id="rId1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xml"/><Relationship Id="rId1" Type="http://schemas.openxmlformats.org/officeDocument/2006/relationships/slideLayout" Target="../slideLayouts/slideLayout72.xml"/><Relationship Id="rId4" Type="http://schemas.openxmlformats.org/officeDocument/2006/relationships/image" Target="../media/image10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xml"/><Relationship Id="rId1" Type="http://schemas.openxmlformats.org/officeDocument/2006/relationships/slideLayout" Target="../slideLayouts/slideLayout504.xml"/></Relationships>
</file>

<file path=ppt/slides/_rels/slide13.xml.rels><?xml version="1.0" encoding="UTF-8" standalone="yes"?>
<Relationships xmlns="http://schemas.openxmlformats.org/package/2006/relationships"><Relationship Id="rId8" Type="http://schemas.openxmlformats.org/officeDocument/2006/relationships/image" Target="../media/image174.png"/><Relationship Id="rId13" Type="http://schemas.microsoft.com/office/2007/relationships/hdphoto" Target="../media/hdphoto4.wdp"/><Relationship Id="rId18" Type="http://schemas.microsoft.com/office/2007/relationships/hdphoto" Target="../media/hdphoto6.wdp"/><Relationship Id="rId3" Type="http://schemas.openxmlformats.org/officeDocument/2006/relationships/image" Target="../media/image171.emf"/><Relationship Id="rId21" Type="http://schemas.openxmlformats.org/officeDocument/2006/relationships/image" Target="../media/image183.png"/><Relationship Id="rId7" Type="http://schemas.microsoft.com/office/2007/relationships/hdphoto" Target="../media/hdphoto2.wdp"/><Relationship Id="rId12" Type="http://schemas.openxmlformats.org/officeDocument/2006/relationships/image" Target="../media/image177.png"/><Relationship Id="rId17" Type="http://schemas.openxmlformats.org/officeDocument/2006/relationships/image" Target="../media/image180.png"/><Relationship Id="rId2" Type="http://schemas.openxmlformats.org/officeDocument/2006/relationships/notesSlide" Target="../notesSlides/notesSlide13.xml"/><Relationship Id="rId16" Type="http://schemas.microsoft.com/office/2007/relationships/hdphoto" Target="../media/hdphoto5.wdp"/><Relationship Id="rId20" Type="http://schemas.openxmlformats.org/officeDocument/2006/relationships/image" Target="../media/image182.emf"/><Relationship Id="rId1" Type="http://schemas.openxmlformats.org/officeDocument/2006/relationships/slideLayout" Target="../slideLayouts/slideLayout264.xml"/><Relationship Id="rId6" Type="http://schemas.openxmlformats.org/officeDocument/2006/relationships/image" Target="../media/image173.png"/><Relationship Id="rId11" Type="http://schemas.openxmlformats.org/officeDocument/2006/relationships/image" Target="../media/image176.png"/><Relationship Id="rId24" Type="http://schemas.microsoft.com/office/2007/relationships/hdphoto" Target="../media/hdphoto8.wdp"/><Relationship Id="rId5" Type="http://schemas.microsoft.com/office/2007/relationships/hdphoto" Target="../media/hdphoto1.wdp"/><Relationship Id="rId15" Type="http://schemas.openxmlformats.org/officeDocument/2006/relationships/image" Target="../media/image179.png"/><Relationship Id="rId23" Type="http://schemas.openxmlformats.org/officeDocument/2006/relationships/image" Target="../media/image184.png"/><Relationship Id="rId10" Type="http://schemas.openxmlformats.org/officeDocument/2006/relationships/image" Target="../media/image175.png"/><Relationship Id="rId19" Type="http://schemas.openxmlformats.org/officeDocument/2006/relationships/image" Target="../media/image181.png"/><Relationship Id="rId4" Type="http://schemas.openxmlformats.org/officeDocument/2006/relationships/image" Target="../media/image172.png"/><Relationship Id="rId9" Type="http://schemas.microsoft.com/office/2007/relationships/hdphoto" Target="../media/hdphoto3.wdp"/><Relationship Id="rId14" Type="http://schemas.openxmlformats.org/officeDocument/2006/relationships/image" Target="../media/image178.jpeg"/><Relationship Id="rId22" Type="http://schemas.microsoft.com/office/2007/relationships/hdphoto" Target="../media/hdphoto7.wdp"/></Relationships>
</file>

<file path=ppt/slides/_rels/slide14.xml.rels><?xml version="1.0" encoding="UTF-8" standalone="yes"?>
<Relationships xmlns="http://schemas.openxmlformats.org/package/2006/relationships"><Relationship Id="rId3" Type="http://schemas.openxmlformats.org/officeDocument/2006/relationships/image" Target="../media/image171.emf"/><Relationship Id="rId7" Type="http://schemas.microsoft.com/office/2007/relationships/hdphoto" Target="../media/hdphoto2.wdp"/><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73.png"/><Relationship Id="rId5" Type="http://schemas.microsoft.com/office/2007/relationships/hdphoto" Target="../media/hdphoto1.wdp"/><Relationship Id="rId4" Type="http://schemas.openxmlformats.org/officeDocument/2006/relationships/image" Target="../media/image172.png"/></Relationships>
</file>

<file path=ppt/slides/_rels/slide15.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5.xml"/><Relationship Id="rId1" Type="http://schemas.openxmlformats.org/officeDocument/2006/relationships/slideLayout" Target="../slideLayouts/slideLayout291.xml"/></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azure/iot-hub/iot-hub-devguide-direct-methods" TargetMode="External"/><Relationship Id="rId2" Type="http://schemas.openxmlformats.org/officeDocument/2006/relationships/notesSlide" Target="../notesSlides/notesSlide16.xml"/><Relationship Id="rId1" Type="http://schemas.openxmlformats.org/officeDocument/2006/relationships/slideLayout" Target="../slideLayouts/slideLayout291.xml"/><Relationship Id="rId6" Type="http://schemas.openxmlformats.org/officeDocument/2006/relationships/image" Target="../media/image185.png"/><Relationship Id="rId5" Type="http://schemas.openxmlformats.org/officeDocument/2006/relationships/hyperlink" Target="https://docs.microsoft.com/en-us/azure/iot-hub/iot-hub-devguide-messages-c2d" TargetMode="External"/><Relationship Id="rId4" Type="http://schemas.openxmlformats.org/officeDocument/2006/relationships/hyperlink" Target="https://docs.microsoft.com/en-us/azure/iot-hub/iot-hub-devguide-device-twin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76.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74.png"/><Relationship Id="rId5" Type="http://schemas.microsoft.com/office/2007/relationships/hdphoto" Target="../media/hdphoto1.wdp"/><Relationship Id="rId4" Type="http://schemas.openxmlformats.org/officeDocument/2006/relationships/image" Target="../media/image172.png"/></Relationships>
</file>

<file path=ppt/slides/_rels/slide1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8.xml"/><Relationship Id="rId1" Type="http://schemas.openxmlformats.org/officeDocument/2006/relationships/slideLayout" Target="../slideLayouts/slideLayout277.xml"/></Relationships>
</file>

<file path=ppt/slides/_rels/slide1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9.xml"/><Relationship Id="rId1" Type="http://schemas.openxmlformats.org/officeDocument/2006/relationships/slideLayout" Target="../slideLayouts/slideLayout27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0.xml"/><Relationship Id="rId1" Type="http://schemas.openxmlformats.org/officeDocument/2006/relationships/slideLayout" Target="../slideLayouts/slideLayout588.xml"/><Relationship Id="rId4" Type="http://schemas.openxmlformats.org/officeDocument/2006/relationships/image" Target="../media/image189.svg"/></Relationships>
</file>

<file path=ppt/slides/_rels/slide21.xml.rels><?xml version="1.0" encoding="UTF-8" standalone="yes"?>
<Relationships xmlns="http://schemas.openxmlformats.org/package/2006/relationships"><Relationship Id="rId8" Type="http://schemas.openxmlformats.org/officeDocument/2006/relationships/image" Target="../media/image195.svg"/><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image" Target="../media/image199.svg"/><Relationship Id="rId2" Type="http://schemas.openxmlformats.org/officeDocument/2006/relationships/notesSlide" Target="../notesSlides/notesSlide21.xml"/><Relationship Id="rId1" Type="http://schemas.openxmlformats.org/officeDocument/2006/relationships/slideLayout" Target="../slideLayouts/slideLayout588.xml"/><Relationship Id="rId6" Type="http://schemas.openxmlformats.org/officeDocument/2006/relationships/image" Target="../media/image193.svg"/><Relationship Id="rId11" Type="http://schemas.openxmlformats.org/officeDocument/2006/relationships/image" Target="../media/image198.png"/><Relationship Id="rId5" Type="http://schemas.openxmlformats.org/officeDocument/2006/relationships/image" Target="../media/image192.png"/><Relationship Id="rId10" Type="http://schemas.openxmlformats.org/officeDocument/2006/relationships/image" Target="../media/image197.svg"/><Relationship Id="rId4" Type="http://schemas.openxmlformats.org/officeDocument/2006/relationships/image" Target="../media/image191.svg"/><Relationship Id="rId9" Type="http://schemas.openxmlformats.org/officeDocument/2006/relationships/image" Target="../media/image196.png"/></Relationships>
</file>

<file path=ppt/slides/_rels/slide22.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svg"/><Relationship Id="rId3" Type="http://schemas.openxmlformats.org/officeDocument/2006/relationships/image" Target="../media/image200.jpeg"/><Relationship Id="rId7" Type="http://schemas.openxmlformats.org/officeDocument/2006/relationships/image" Target="../media/image189.svg"/><Relationship Id="rId12" Type="http://schemas.openxmlformats.org/officeDocument/2006/relationships/image" Target="../media/image207.png"/><Relationship Id="rId2" Type="http://schemas.openxmlformats.org/officeDocument/2006/relationships/notesSlide" Target="../notesSlides/notesSlide22.xml"/><Relationship Id="rId1" Type="http://schemas.openxmlformats.org/officeDocument/2006/relationships/slideLayout" Target="../slideLayouts/slideLayout588.xml"/><Relationship Id="rId6" Type="http://schemas.openxmlformats.org/officeDocument/2006/relationships/image" Target="../media/image188.png"/><Relationship Id="rId11" Type="http://schemas.openxmlformats.org/officeDocument/2006/relationships/image" Target="../media/image206.svg"/><Relationship Id="rId5" Type="http://schemas.openxmlformats.org/officeDocument/2006/relationships/image" Target="../media/image202.svg"/><Relationship Id="rId10" Type="http://schemas.openxmlformats.org/officeDocument/2006/relationships/image" Target="../media/image205.png"/><Relationship Id="rId4" Type="http://schemas.openxmlformats.org/officeDocument/2006/relationships/image" Target="../media/image201.png"/><Relationship Id="rId9" Type="http://schemas.openxmlformats.org/officeDocument/2006/relationships/image" Target="../media/image204.svg"/></Relationships>
</file>

<file path=ppt/slides/_rels/slide23.xml.rels><?xml version="1.0" encoding="UTF-8" standalone="yes"?>
<Relationships xmlns="http://schemas.openxmlformats.org/package/2006/relationships"><Relationship Id="rId8" Type="http://schemas.openxmlformats.org/officeDocument/2006/relationships/image" Target="../media/image214.png"/><Relationship Id="rId13" Type="http://schemas.openxmlformats.org/officeDocument/2006/relationships/image" Target="../media/image219.png"/><Relationship Id="rId18" Type="http://schemas.openxmlformats.org/officeDocument/2006/relationships/image" Target="../media/image224.png"/><Relationship Id="rId3" Type="http://schemas.openxmlformats.org/officeDocument/2006/relationships/image" Target="../media/image209.png"/><Relationship Id="rId7" Type="http://schemas.openxmlformats.org/officeDocument/2006/relationships/image" Target="../media/image213.png"/><Relationship Id="rId12" Type="http://schemas.openxmlformats.org/officeDocument/2006/relationships/image" Target="../media/image218.png"/><Relationship Id="rId17" Type="http://schemas.openxmlformats.org/officeDocument/2006/relationships/image" Target="../media/image223.png"/><Relationship Id="rId2" Type="http://schemas.openxmlformats.org/officeDocument/2006/relationships/notesSlide" Target="../notesSlides/notesSlide23.xml"/><Relationship Id="rId16" Type="http://schemas.openxmlformats.org/officeDocument/2006/relationships/image" Target="../media/image222.png"/><Relationship Id="rId20" Type="http://schemas.openxmlformats.org/officeDocument/2006/relationships/image" Target="../media/image226.png"/><Relationship Id="rId1" Type="http://schemas.openxmlformats.org/officeDocument/2006/relationships/slideLayout" Target="../slideLayouts/slideLayout543.xml"/><Relationship Id="rId6" Type="http://schemas.openxmlformats.org/officeDocument/2006/relationships/image" Target="../media/image212.png"/><Relationship Id="rId11" Type="http://schemas.openxmlformats.org/officeDocument/2006/relationships/image" Target="../media/image217.jpeg"/><Relationship Id="rId5" Type="http://schemas.openxmlformats.org/officeDocument/2006/relationships/image" Target="../media/image211.png"/><Relationship Id="rId15" Type="http://schemas.openxmlformats.org/officeDocument/2006/relationships/image" Target="../media/image221.png"/><Relationship Id="rId10" Type="http://schemas.openxmlformats.org/officeDocument/2006/relationships/image" Target="../media/image216.jpeg"/><Relationship Id="rId19" Type="http://schemas.openxmlformats.org/officeDocument/2006/relationships/image" Target="../media/image225.png"/><Relationship Id="rId4" Type="http://schemas.openxmlformats.org/officeDocument/2006/relationships/image" Target="../media/image210.jpeg"/><Relationship Id="rId9" Type="http://schemas.openxmlformats.org/officeDocument/2006/relationships/image" Target="../media/image215.png"/><Relationship Id="rId14" Type="http://schemas.openxmlformats.org/officeDocument/2006/relationships/image" Target="../media/image220.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8" Type="http://schemas.openxmlformats.org/officeDocument/2006/relationships/hyperlink" Target="https://github.com/azure-rtos" TargetMode="External"/><Relationship Id="rId3" Type="http://schemas.openxmlformats.org/officeDocument/2006/relationships/image" Target="../media/image227.png"/><Relationship Id="rId7" Type="http://schemas.openxmlformats.org/officeDocument/2006/relationships/image" Target="../media/image231.jpeg"/><Relationship Id="rId2" Type="http://schemas.openxmlformats.org/officeDocument/2006/relationships/notesSlide" Target="../notesSlides/notesSlide26.xml"/><Relationship Id="rId1" Type="http://schemas.openxmlformats.org/officeDocument/2006/relationships/slideLayout" Target="../slideLayouts/slideLayout380.xml"/><Relationship Id="rId6" Type="http://schemas.openxmlformats.org/officeDocument/2006/relationships/image" Target="../media/image230.emf"/><Relationship Id="rId5" Type="http://schemas.openxmlformats.org/officeDocument/2006/relationships/image" Target="../media/image229.emf"/><Relationship Id="rId4" Type="http://schemas.openxmlformats.org/officeDocument/2006/relationships/image" Target="../media/image228.svg"/></Relationships>
</file>

<file path=ppt/slides/_rels/slide27.xml.rels><?xml version="1.0" encoding="UTF-8" standalone="yes"?>
<Relationships xmlns="http://schemas.openxmlformats.org/package/2006/relationships"><Relationship Id="rId3" Type="http://schemas.openxmlformats.org/officeDocument/2006/relationships/hyperlink" Target="https://nam06.safelinks.protection.outlook.com/?url=http%3A%2F%2Faka.ms%2FEmbeddedDevResearch&amp;data=04%7C01%7Cpacorte%40microsoft.com%7C3055b692064b4d49de7c08d8dcf778c7%7C72f988bf86f141af91ab2d7cd011db47%7C1%7C0%7C637502302725381068%7CUnknown%7CTWFpbGZsb3d8eyJWIjoiMC4wLjAwMDAiLCJQIjoiV2luMzIiLCJBTiI6Ik1haWwiLCJXVCI6Mn0%3D%7C1000&amp;sdata=p2qmfQjwUiDq7iOaSNK9TKynmugvr1dz4Rbb%2BlCHwTI%3D&amp;reserved=0" TargetMode="External"/><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234.png"/><Relationship Id="rId13" Type="http://schemas.openxmlformats.org/officeDocument/2006/relationships/image" Target="../media/image239.png"/><Relationship Id="rId3" Type="http://schemas.openxmlformats.org/officeDocument/2006/relationships/hyperlink" Target="https://aka.ms/mslearniot" TargetMode="External"/><Relationship Id="rId7" Type="http://schemas.openxmlformats.org/officeDocument/2006/relationships/image" Target="../media/image233.png"/><Relationship Id="rId12" Type="http://schemas.openxmlformats.org/officeDocument/2006/relationships/image" Target="../media/image238.png"/><Relationship Id="rId17" Type="http://schemas.openxmlformats.org/officeDocument/2006/relationships/hyperlink" Target="https://aka.ms/IntroAzureIoTLearningPath" TargetMode="External"/><Relationship Id="rId2" Type="http://schemas.openxmlformats.org/officeDocument/2006/relationships/notesSlide" Target="../notesSlides/notesSlide29.xml"/><Relationship Id="rId16" Type="http://schemas.openxmlformats.org/officeDocument/2006/relationships/image" Target="../media/image242.png"/><Relationship Id="rId1" Type="http://schemas.openxmlformats.org/officeDocument/2006/relationships/slideLayout" Target="../slideLayouts/slideLayout22.xml"/><Relationship Id="rId6" Type="http://schemas.openxmlformats.org/officeDocument/2006/relationships/hyperlink" Target="https://docs.microsoft.com/en-us/azure/iot-fundamentals/" TargetMode="External"/><Relationship Id="rId11" Type="http://schemas.openxmlformats.org/officeDocument/2006/relationships/image" Target="../media/image237.svg"/><Relationship Id="rId5" Type="http://schemas.openxmlformats.org/officeDocument/2006/relationships/hyperlink" Target="https://aka.ms/iottechcommunity" TargetMode="External"/><Relationship Id="rId15" Type="http://schemas.openxmlformats.org/officeDocument/2006/relationships/image" Target="../media/image241.png"/><Relationship Id="rId10" Type="http://schemas.openxmlformats.org/officeDocument/2006/relationships/image" Target="../media/image236.png"/><Relationship Id="rId4" Type="http://schemas.openxmlformats.org/officeDocument/2006/relationships/hyperlink" Target="https://aka.ms/msiotdevs" TargetMode="External"/><Relationship Id="rId9" Type="http://schemas.openxmlformats.org/officeDocument/2006/relationships/image" Target="../media/image235.svg"/><Relationship Id="rId14" Type="http://schemas.openxmlformats.org/officeDocument/2006/relationships/image" Target="../media/image2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hyperlink" Target="https://aka.ms/msiotdevs" TargetMode="External"/><Relationship Id="rId3" Type="http://schemas.openxmlformats.org/officeDocument/2006/relationships/hyperlink" Target="https://aka.ms/iotrefarchitecture" TargetMode="External"/><Relationship Id="rId7" Type="http://schemas.openxmlformats.org/officeDocument/2006/relationships/hyperlink" Target="https://aka.ms/mslearniot" TargetMode="External"/><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 Id="rId5" Type="http://schemas.openxmlformats.org/officeDocument/2006/relationships/hyperlink" Target="https://apps.azureiotcentral.com/myapps" TargetMode="External"/><Relationship Id="rId10" Type="http://schemas.openxmlformats.org/officeDocument/2006/relationships/hyperlink" Target="https://docs.microsoft.com/en-us/azure/iot-fundamentals/" TargetMode="External"/><Relationship Id="rId4" Type="http://schemas.openxmlformats.org/officeDocument/2006/relationships/hyperlink" Target="https://aka.ms/get-started-azure-2021" TargetMode="External"/><Relationship Id="rId9" Type="http://schemas.openxmlformats.org/officeDocument/2006/relationships/hyperlink" Target="https://aka.ms/iottechcommunity"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svg"/><Relationship Id="rId2" Type="http://schemas.openxmlformats.org/officeDocument/2006/relationships/notesSlide" Target="../notesSlides/notesSlide4.xml"/><Relationship Id="rId1" Type="http://schemas.openxmlformats.org/officeDocument/2006/relationships/slideLayout" Target="../slideLayouts/slideLayout81.xml"/><Relationship Id="rId6" Type="http://schemas.openxmlformats.org/officeDocument/2006/relationships/image" Target="../media/image112.sv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s>
</file>

<file path=ppt/slides/_rels/slide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hyperlink" Target="https://www.gartner.com/document/3980003" TargetMode="External"/><Relationship Id="rId7" Type="http://schemas.openxmlformats.org/officeDocument/2006/relationships/image" Target="../media/image124.sv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123.png"/><Relationship Id="rId5" Type="http://schemas.openxmlformats.org/officeDocument/2006/relationships/image" Target="../media/image122.svg"/><Relationship Id="rId4" Type="http://schemas.openxmlformats.org/officeDocument/2006/relationships/image" Target="../media/image121.png"/></Relationships>
</file>

<file path=ppt/slides/_rels/slide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128.png"/><Relationship Id="rId4" Type="http://schemas.openxmlformats.org/officeDocument/2006/relationships/image" Target="../media/image127.svg"/></Relationships>
</file>

<file path=ppt/slides/_rels/slide7.xml.rels><?xml version="1.0" encoding="UTF-8" standalone="yes"?>
<Relationships xmlns="http://schemas.openxmlformats.org/package/2006/relationships"><Relationship Id="rId13" Type="http://schemas.openxmlformats.org/officeDocument/2006/relationships/image" Target="../media/image139.png"/><Relationship Id="rId18" Type="http://schemas.openxmlformats.org/officeDocument/2006/relationships/image" Target="../media/image144.png"/><Relationship Id="rId26" Type="http://schemas.openxmlformats.org/officeDocument/2006/relationships/image" Target="../media/image152.jpeg"/><Relationship Id="rId3" Type="http://schemas.openxmlformats.org/officeDocument/2006/relationships/image" Target="../media/image129.png"/><Relationship Id="rId21" Type="http://schemas.openxmlformats.org/officeDocument/2006/relationships/image" Target="../media/image147.pn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png"/><Relationship Id="rId25" Type="http://schemas.openxmlformats.org/officeDocument/2006/relationships/image" Target="../media/image151.png"/><Relationship Id="rId33" Type="http://schemas.openxmlformats.org/officeDocument/2006/relationships/image" Target="../media/image159.png"/><Relationship Id="rId2" Type="http://schemas.openxmlformats.org/officeDocument/2006/relationships/notesSlide" Target="../notesSlides/notesSlide7.xml"/><Relationship Id="rId16" Type="http://schemas.openxmlformats.org/officeDocument/2006/relationships/image" Target="../media/image142.png"/><Relationship Id="rId20" Type="http://schemas.openxmlformats.org/officeDocument/2006/relationships/image" Target="../media/image146.png"/><Relationship Id="rId29" Type="http://schemas.openxmlformats.org/officeDocument/2006/relationships/image" Target="../media/image155.png"/><Relationship Id="rId1" Type="http://schemas.openxmlformats.org/officeDocument/2006/relationships/slideLayout" Target="../slideLayouts/slideLayout173.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png"/><Relationship Id="rId32" Type="http://schemas.openxmlformats.org/officeDocument/2006/relationships/image" Target="../media/image158.jpeg"/><Relationship Id="rId5" Type="http://schemas.openxmlformats.org/officeDocument/2006/relationships/image" Target="../media/image131.png"/><Relationship Id="rId15" Type="http://schemas.openxmlformats.org/officeDocument/2006/relationships/image" Target="../media/image141.png"/><Relationship Id="rId23" Type="http://schemas.openxmlformats.org/officeDocument/2006/relationships/image" Target="../media/image149.png"/><Relationship Id="rId28" Type="http://schemas.openxmlformats.org/officeDocument/2006/relationships/image" Target="../media/image154.png"/><Relationship Id="rId10" Type="http://schemas.openxmlformats.org/officeDocument/2006/relationships/image" Target="../media/image136.png"/><Relationship Id="rId19" Type="http://schemas.openxmlformats.org/officeDocument/2006/relationships/image" Target="../media/image145.png"/><Relationship Id="rId31" Type="http://schemas.openxmlformats.org/officeDocument/2006/relationships/image" Target="../media/image157.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png"/><Relationship Id="rId22" Type="http://schemas.openxmlformats.org/officeDocument/2006/relationships/image" Target="../media/image148.jpeg"/><Relationship Id="rId27" Type="http://schemas.openxmlformats.org/officeDocument/2006/relationships/image" Target="../media/image153.png"/><Relationship Id="rId30" Type="http://schemas.openxmlformats.org/officeDocument/2006/relationships/image" Target="../media/image156.png"/><Relationship Id="rId8" Type="http://schemas.openxmlformats.org/officeDocument/2006/relationships/image" Target="../media/image13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4.xml"/></Relationships>
</file>

<file path=ppt/slides/_rels/slide9.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64.png"/><Relationship Id="rId17" Type="http://schemas.openxmlformats.org/officeDocument/2006/relationships/image" Target="../media/image169.svg"/><Relationship Id="rId2" Type="http://schemas.openxmlformats.org/officeDocument/2006/relationships/notesSlide" Target="../notesSlides/notesSlide9.xml"/><Relationship Id="rId16" Type="http://schemas.openxmlformats.org/officeDocument/2006/relationships/image" Target="../media/image168.png"/><Relationship Id="rId1" Type="http://schemas.openxmlformats.org/officeDocument/2006/relationships/slideLayout" Target="../slideLayouts/slideLayout290.xml"/><Relationship Id="rId6" Type="http://schemas.openxmlformats.org/officeDocument/2006/relationships/diagramColors" Target="../diagrams/colors1.xml"/><Relationship Id="rId11" Type="http://schemas.openxmlformats.org/officeDocument/2006/relationships/image" Target="../media/image163.svg"/><Relationship Id="rId5" Type="http://schemas.openxmlformats.org/officeDocument/2006/relationships/diagramQuickStyle" Target="../diagrams/quickStyle1.xml"/><Relationship Id="rId15" Type="http://schemas.openxmlformats.org/officeDocument/2006/relationships/image" Target="../media/image167.svg"/><Relationship Id="rId10" Type="http://schemas.openxmlformats.org/officeDocument/2006/relationships/image" Target="../media/image162.png"/><Relationship Id="rId4" Type="http://schemas.openxmlformats.org/officeDocument/2006/relationships/diagramLayout" Target="../diagrams/layout1.xml"/><Relationship Id="rId9" Type="http://schemas.openxmlformats.org/officeDocument/2006/relationships/image" Target="../media/image161.svg"/><Relationship Id="rId14" Type="http://schemas.openxmlformats.org/officeDocument/2006/relationships/image" Target="../media/image1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71908B-50ED-4BC3-BD12-3A141E87B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465" y="5229589"/>
            <a:ext cx="434549" cy="434548"/>
          </a:xfrm>
          <a:prstGeom prst="rect">
            <a:avLst/>
          </a:prstGeom>
        </p:spPr>
      </p:pic>
      <p:sp>
        <p:nvSpPr>
          <p:cNvPr id="4" name="TextBox 3">
            <a:extLst>
              <a:ext uri="{FF2B5EF4-FFF2-40B4-BE49-F238E27FC236}">
                <a16:creationId xmlns:a16="http://schemas.microsoft.com/office/drawing/2014/main" id="{4FDB6368-69A1-4D99-BA12-570FAFF3DBDF}"/>
              </a:ext>
            </a:extLst>
          </p:cNvPr>
          <p:cNvSpPr txBox="1"/>
          <p:nvPr/>
        </p:nvSpPr>
        <p:spPr>
          <a:xfrm>
            <a:off x="828446" y="5203087"/>
            <a:ext cx="15913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r>
              <a:rPr lang="en-US" sz="1600" dirty="0">
                <a:solidFill>
                  <a:srgbClr val="FFFFFF"/>
                </a:solidFill>
                <a:latin typeface="Segoe UI" panose="020B0502040204020203" pitchFamily="34" charset="0"/>
                <a:cs typeface="Segoe UI" panose="020B0502040204020203" pitchFamily="34" charset="0"/>
              </a:rPr>
              <a:t>A</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ltaOhms</a:t>
            </a: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4495D031-25E4-49A7-9685-879661EDF2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16" y="5705499"/>
            <a:ext cx="252448" cy="232470"/>
          </a:xfrm>
          <a:prstGeom prst="rect">
            <a:avLst/>
          </a:prstGeom>
        </p:spPr>
      </p:pic>
      <p:sp>
        <p:nvSpPr>
          <p:cNvPr id="7" name="TextBox 6">
            <a:extLst>
              <a:ext uri="{FF2B5EF4-FFF2-40B4-BE49-F238E27FC236}">
                <a16:creationId xmlns:a16="http://schemas.microsoft.com/office/drawing/2014/main" id="{EF1A9A90-9423-4288-8DAC-46A52289FFE8}"/>
              </a:ext>
            </a:extLst>
          </p:cNvPr>
          <p:cNvSpPr txBox="1"/>
          <p:nvPr/>
        </p:nvSpPr>
        <p:spPr>
          <a:xfrm>
            <a:off x="828446" y="5582199"/>
            <a:ext cx="32764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pamelacortezhellotechie</a:t>
            </a: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Title 1">
            <a:extLst>
              <a:ext uri="{FF2B5EF4-FFF2-40B4-BE49-F238E27FC236}">
                <a16:creationId xmlns:a16="http://schemas.microsoft.com/office/drawing/2014/main" id="{98D682EF-4B23-4C4E-AFB2-8A5B6585FD88}"/>
              </a:ext>
            </a:extLst>
          </p:cNvPr>
          <p:cNvSpPr txBox="1">
            <a:spLocks/>
          </p:cNvSpPr>
          <p:nvPr/>
        </p:nvSpPr>
        <p:spPr>
          <a:xfrm>
            <a:off x="584200" y="1502451"/>
            <a:ext cx="6623424" cy="2031325"/>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50E6FF"/>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50" normalizeH="0" baseline="0" noProof="0" dirty="0">
                <a:ln w="3175">
                  <a:noFill/>
                </a:ln>
                <a:gradFill>
                  <a:gsLst>
                    <a:gs pos="0">
                      <a:srgbClr val="50E6FF"/>
                    </a:gs>
                    <a:gs pos="100000">
                      <a:srgbClr val="0078D4"/>
                    </a:gs>
                  </a:gsLst>
                  <a:lin ang="2700000" scaled="0"/>
                </a:gradFill>
                <a:effectLst/>
                <a:uLnTx/>
                <a:uFillTx/>
                <a:latin typeface="Segoe UI Semibold"/>
                <a:ea typeface="+mn-ea"/>
                <a:cs typeface="Segoe UI" panose="020B0502040204020203" pitchFamily="34" charset="0"/>
              </a:rPr>
              <a:t>Connect devices to the cloud</a:t>
            </a:r>
          </a:p>
        </p:txBody>
      </p:sp>
      <p:sp>
        <p:nvSpPr>
          <p:cNvPr id="11" name="Text Placeholder 4">
            <a:extLst>
              <a:ext uri="{FF2B5EF4-FFF2-40B4-BE49-F238E27FC236}">
                <a16:creationId xmlns:a16="http://schemas.microsoft.com/office/drawing/2014/main" id="{3BE32119-984D-4B35-AACE-EB7CC37F7660}"/>
              </a:ext>
            </a:extLst>
          </p:cNvPr>
          <p:cNvSpPr txBox="1">
            <a:spLocks/>
          </p:cNvSpPr>
          <p:nvPr/>
        </p:nvSpPr>
        <p:spPr>
          <a:xfrm>
            <a:off x="617516" y="3630025"/>
            <a:ext cx="6590107" cy="1292662"/>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mela Cortez </a:t>
            </a:r>
            <a:r>
              <a:rPr kumimoji="0" lang="en-US" sz="28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t>
            </a: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ardware Ecosystem Engagements &amp; Communities Senior PM, Azure IoT</a:t>
            </a:r>
          </a:p>
        </p:txBody>
      </p:sp>
    </p:spTree>
    <p:extLst>
      <p:ext uri="{BB962C8B-B14F-4D97-AF65-F5344CB8AC3E}">
        <p14:creationId xmlns:p14="http://schemas.microsoft.com/office/powerpoint/2010/main" val="411068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Communication protocols</a:t>
            </a:r>
          </a:p>
        </p:txBody>
      </p:sp>
      <p:sp>
        <p:nvSpPr>
          <p:cNvPr id="28" name="Text Placeholder 1">
            <a:extLst>
              <a:ext uri="{FF2B5EF4-FFF2-40B4-BE49-F238E27FC236}">
                <a16:creationId xmlns:a16="http://schemas.microsoft.com/office/drawing/2014/main" id="{4B3B6AD1-81BB-4CDB-A9C4-6D92D45759C1}"/>
              </a:ext>
            </a:extLst>
          </p:cNvPr>
          <p:cNvSpPr txBox="1">
            <a:spLocks/>
          </p:cNvSpPr>
          <p:nvPr/>
        </p:nvSpPr>
        <p:spPr>
          <a:xfrm>
            <a:off x="432089" y="1264000"/>
            <a:ext cx="11651870" cy="2876206"/>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indent="-336145">
              <a:buFont typeface="Arial" panose="020B0604020202020204" pitchFamily="34" charset="0"/>
              <a:buChar char="•"/>
            </a:pPr>
            <a:r>
              <a:rPr lang="en-US" sz="2200" dirty="0">
                <a:solidFill>
                  <a:schemeClr val="bg1"/>
                </a:solidFill>
                <a:latin typeface="Segoe UI (Body)"/>
              </a:rPr>
              <a:t>IoT Hub is inherently a message-based cloud-hosted service</a:t>
            </a:r>
          </a:p>
          <a:p>
            <a:pPr marL="336145" indent="-336145">
              <a:buFont typeface="Arial" panose="020B0604020202020204" pitchFamily="34" charset="0"/>
              <a:buChar char="•"/>
            </a:pPr>
            <a:r>
              <a:rPr lang="en-US" sz="2200" dirty="0">
                <a:solidFill>
                  <a:schemeClr val="bg1"/>
                </a:solidFill>
                <a:latin typeface="Segoe UI (Body)"/>
              </a:rPr>
              <a:t>Supported protocols are </a:t>
            </a:r>
            <a:r>
              <a:rPr lang="en-US" sz="2200" b="1" dirty="0">
                <a:solidFill>
                  <a:schemeClr val="bg1"/>
                </a:solidFill>
                <a:latin typeface="Segoe UI (Body)"/>
              </a:rPr>
              <a:t>AMQP</a:t>
            </a:r>
            <a:r>
              <a:rPr lang="en-US" sz="2200" dirty="0">
                <a:solidFill>
                  <a:schemeClr val="bg1"/>
                </a:solidFill>
                <a:latin typeface="Segoe UI (Body)"/>
              </a:rPr>
              <a:t>, </a:t>
            </a:r>
            <a:r>
              <a:rPr lang="en-US" sz="2200" b="1" dirty="0">
                <a:solidFill>
                  <a:schemeClr val="bg1"/>
                </a:solidFill>
                <a:latin typeface="Segoe UI (Body)"/>
              </a:rPr>
              <a:t>MQTT</a:t>
            </a:r>
            <a:r>
              <a:rPr lang="en-US" sz="2200" dirty="0">
                <a:solidFill>
                  <a:schemeClr val="bg1"/>
                </a:solidFill>
                <a:latin typeface="Segoe UI (Body)"/>
              </a:rPr>
              <a:t> and </a:t>
            </a:r>
            <a:r>
              <a:rPr lang="en-US" sz="2200" b="1" dirty="0">
                <a:solidFill>
                  <a:schemeClr val="bg1"/>
                </a:solidFill>
                <a:latin typeface="Segoe UI (Body)"/>
              </a:rPr>
              <a:t>HTTPS</a:t>
            </a:r>
          </a:p>
          <a:p>
            <a:pPr marL="336145" indent="-336145">
              <a:buFont typeface="Arial" panose="020B0604020202020204" pitchFamily="34" charset="0"/>
              <a:buChar char="•"/>
            </a:pPr>
            <a:r>
              <a:rPr lang="en-US" sz="2200" dirty="0">
                <a:solidFill>
                  <a:schemeClr val="bg1"/>
                </a:solidFill>
                <a:latin typeface="Segoe UI (Body)"/>
              </a:rPr>
              <a:t>Devices maintain a persisted connection to IoT Hub</a:t>
            </a:r>
          </a:p>
          <a:p>
            <a:pPr marL="336145" indent="-336145">
              <a:buFont typeface="Arial" panose="020B0604020202020204" pitchFamily="34" charset="0"/>
              <a:buChar char="•"/>
            </a:pPr>
            <a:r>
              <a:rPr lang="en-US" sz="2200" dirty="0">
                <a:solidFill>
                  <a:schemeClr val="bg1"/>
                </a:solidFill>
                <a:latin typeface="Segoe UI (Body)"/>
              </a:rPr>
              <a:t>Connections are all TLS-enabled and devices are authenticated</a:t>
            </a:r>
          </a:p>
          <a:p>
            <a:pPr marL="336145" indent="-336145">
              <a:buFont typeface="Arial" panose="020B0604020202020204" pitchFamily="34" charset="0"/>
              <a:buChar char="•"/>
            </a:pPr>
            <a:r>
              <a:rPr lang="en-US" sz="2200" dirty="0">
                <a:solidFill>
                  <a:schemeClr val="bg1"/>
                </a:solidFill>
                <a:latin typeface="Segoe UI (Body)"/>
              </a:rPr>
              <a:t>Devices have an IoT Hub identity (SAS key or a certificate)</a:t>
            </a:r>
          </a:p>
          <a:p>
            <a:pPr marL="336145" indent="-336145">
              <a:buFont typeface="Arial" panose="020B0604020202020204" pitchFamily="34" charset="0"/>
              <a:buChar char="•"/>
            </a:pPr>
            <a:r>
              <a:rPr lang="en-US" sz="2200" dirty="0">
                <a:solidFill>
                  <a:schemeClr val="bg1"/>
                </a:solidFill>
                <a:latin typeface="Segoe UI (Body)"/>
              </a:rPr>
              <a:t>We allow a special-purpose service-identity with higher privileges, e.g.,</a:t>
            </a:r>
          </a:p>
          <a:p>
            <a:pPr marL="336145" lvl="1" indent="-336145">
              <a:buFont typeface="Arial" panose="020B0604020202020204" pitchFamily="34" charset="0"/>
              <a:buChar char="•"/>
            </a:pPr>
            <a:endParaRPr lang="en-US" dirty="0">
              <a:solidFill>
                <a:schemeClr val="bg1"/>
              </a:solidFill>
            </a:endParaRPr>
          </a:p>
          <a:p>
            <a:pPr marL="336145" indent="-336145">
              <a:buFont typeface="Arial" panose="020B0604020202020204" pitchFamily="34" charset="0"/>
              <a:buChar char="•"/>
            </a:pPr>
            <a:endParaRPr lang="en-US" dirty="0"/>
          </a:p>
        </p:txBody>
      </p:sp>
      <p:sp>
        <p:nvSpPr>
          <p:cNvPr id="29" name="Title 2">
            <a:extLst>
              <a:ext uri="{FF2B5EF4-FFF2-40B4-BE49-F238E27FC236}">
                <a16:creationId xmlns:a16="http://schemas.microsoft.com/office/drawing/2014/main" id="{F7899E17-78F6-4801-A795-0B7C23D2ABC5}"/>
              </a:ext>
            </a:extLst>
          </p:cNvPr>
          <p:cNvSpPr txBox="1">
            <a:spLocks/>
          </p:cNvSpPr>
          <p:nvPr/>
        </p:nvSpPr>
        <p:spPr>
          <a:xfrm>
            <a:off x="269240" y="289513"/>
            <a:ext cx="11655840" cy="89966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a:t>Protocols</a:t>
            </a:r>
            <a:endParaRPr lang="en-US" dirty="0"/>
          </a:p>
        </p:txBody>
      </p:sp>
      <p:graphicFrame>
        <p:nvGraphicFramePr>
          <p:cNvPr id="30" name="Table 29">
            <a:extLst>
              <a:ext uri="{FF2B5EF4-FFF2-40B4-BE49-F238E27FC236}">
                <a16:creationId xmlns:a16="http://schemas.microsoft.com/office/drawing/2014/main" id="{31996B24-6146-4C46-B0BC-78BAA5A10868}"/>
              </a:ext>
            </a:extLst>
          </p:cNvPr>
          <p:cNvGraphicFramePr>
            <a:graphicFrameLocks noGrp="1"/>
          </p:cNvGraphicFramePr>
          <p:nvPr>
            <p:extLst>
              <p:ext uri="{D42A27DB-BD31-4B8C-83A1-F6EECF244321}">
                <p14:modId xmlns:p14="http://schemas.microsoft.com/office/powerpoint/2010/main" val="4230582707"/>
              </p:ext>
            </p:extLst>
          </p:nvPr>
        </p:nvGraphicFramePr>
        <p:xfrm>
          <a:off x="591970" y="3780768"/>
          <a:ext cx="10758477" cy="2417016"/>
        </p:xfrm>
        <a:graphic>
          <a:graphicData uri="http://schemas.openxmlformats.org/drawingml/2006/table">
            <a:tbl>
              <a:tblPr firstRow="1" bandRow="1">
                <a:tableStyleId>{073A0DAA-6AF3-43AB-8588-CEC1D06C72B9}</a:tableStyleId>
              </a:tblPr>
              <a:tblGrid>
                <a:gridCol w="2785931">
                  <a:extLst>
                    <a:ext uri="{9D8B030D-6E8A-4147-A177-3AD203B41FA5}">
                      <a16:colId xmlns:a16="http://schemas.microsoft.com/office/drawing/2014/main" val="1120213889"/>
                    </a:ext>
                  </a:extLst>
                </a:gridCol>
                <a:gridCol w="4386387">
                  <a:extLst>
                    <a:ext uri="{9D8B030D-6E8A-4147-A177-3AD203B41FA5}">
                      <a16:colId xmlns:a16="http://schemas.microsoft.com/office/drawing/2014/main" val="61090403"/>
                    </a:ext>
                  </a:extLst>
                </a:gridCol>
                <a:gridCol w="3586159">
                  <a:extLst>
                    <a:ext uri="{9D8B030D-6E8A-4147-A177-3AD203B41FA5}">
                      <a16:colId xmlns:a16="http://schemas.microsoft.com/office/drawing/2014/main" val="470106301"/>
                    </a:ext>
                  </a:extLst>
                </a:gridCol>
              </a:tblGrid>
              <a:tr h="360296">
                <a:tc>
                  <a:txBody>
                    <a:bodyPr/>
                    <a:lstStyle/>
                    <a:p>
                      <a:pPr marL="0" marR="0">
                        <a:spcBef>
                          <a:spcPts val="0"/>
                        </a:spcBef>
                        <a:spcAft>
                          <a:spcPts val="0"/>
                        </a:spcAft>
                      </a:pPr>
                      <a:r>
                        <a:rPr lang="en-US" sz="1400" b="1" dirty="0">
                          <a:effectLst/>
                        </a:rPr>
                        <a:t>Feature</a:t>
                      </a:r>
                      <a:endParaRPr lang="en-US" sz="1800" dirty="0">
                        <a:effectLst/>
                        <a:latin typeface="Calibri" panose="020F0502020204030204" pitchFamily="34" charset="0"/>
                        <a:ea typeface="Calibri" panose="020F0502020204030204" pitchFamily="34" charset="0"/>
                      </a:endParaRPr>
                    </a:p>
                  </a:txBody>
                  <a:tcPr marL="68570" marR="68570" marT="0" marB="0" anchor="ctr"/>
                </a:tc>
                <a:tc>
                  <a:txBody>
                    <a:bodyPr/>
                    <a:lstStyle/>
                    <a:p>
                      <a:pPr marL="0" marR="0">
                        <a:spcBef>
                          <a:spcPts val="0"/>
                        </a:spcBef>
                        <a:spcAft>
                          <a:spcPts val="0"/>
                        </a:spcAft>
                      </a:pPr>
                      <a:r>
                        <a:rPr lang="en-US" sz="1400" b="1">
                          <a:effectLst/>
                        </a:rPr>
                        <a:t>Device-side protocols</a:t>
                      </a:r>
                      <a:endParaRPr lang="en-US" sz="1800">
                        <a:effectLst/>
                        <a:latin typeface="Calibri" panose="020F0502020204030204" pitchFamily="34" charset="0"/>
                        <a:ea typeface="Calibri" panose="020F0502020204030204" pitchFamily="34" charset="0"/>
                      </a:endParaRPr>
                    </a:p>
                  </a:txBody>
                  <a:tcPr marL="68570" marR="68570" marT="0" marB="0" anchor="ctr"/>
                </a:tc>
                <a:tc>
                  <a:txBody>
                    <a:bodyPr/>
                    <a:lstStyle/>
                    <a:p>
                      <a:pPr marL="0" marR="0">
                        <a:spcBef>
                          <a:spcPts val="0"/>
                        </a:spcBef>
                        <a:spcAft>
                          <a:spcPts val="0"/>
                        </a:spcAft>
                      </a:pPr>
                      <a:r>
                        <a:rPr lang="en-US" sz="1400" b="1">
                          <a:effectLst/>
                        </a:rPr>
                        <a:t>Service-side protocols</a:t>
                      </a:r>
                      <a:endParaRPr lang="en-US" sz="1800">
                        <a:effectLst/>
                        <a:latin typeface="Calibri" panose="020F0502020204030204" pitchFamily="34" charset="0"/>
                        <a:ea typeface="Calibri" panose="020F0502020204030204" pitchFamily="34" charset="0"/>
                      </a:endParaRPr>
                    </a:p>
                  </a:txBody>
                  <a:tcPr marL="68570" marR="68570" marT="0" marB="0" anchor="ctr"/>
                </a:tc>
                <a:extLst>
                  <a:ext uri="{0D108BD9-81ED-4DB2-BD59-A6C34878D82A}">
                    <a16:rowId xmlns:a16="http://schemas.microsoft.com/office/drawing/2014/main" val="4203767344"/>
                  </a:ext>
                </a:extLst>
              </a:tr>
              <a:tr h="412894">
                <a:tc>
                  <a:txBody>
                    <a:bodyPr/>
                    <a:lstStyle/>
                    <a:p>
                      <a:pPr marL="0" marR="0">
                        <a:spcBef>
                          <a:spcPts val="0"/>
                        </a:spcBef>
                        <a:spcAft>
                          <a:spcPts val="0"/>
                        </a:spcAft>
                      </a:pPr>
                      <a:r>
                        <a:rPr lang="en-US" sz="1800">
                          <a:effectLst/>
                        </a:rPr>
                        <a:t>D2C telemetry messaging</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 HTTP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AMQP/WS + 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2452713465"/>
                  </a:ext>
                </a:extLst>
              </a:tr>
              <a:tr h="412894">
                <a:tc>
                  <a:txBody>
                    <a:bodyPr/>
                    <a:lstStyle/>
                    <a:p>
                      <a:pPr marL="0" marR="0">
                        <a:spcBef>
                          <a:spcPts val="0"/>
                        </a:spcBef>
                        <a:spcAft>
                          <a:spcPts val="0"/>
                        </a:spcAft>
                      </a:pPr>
                      <a:r>
                        <a:rPr lang="en-US" sz="1800" dirty="0">
                          <a:effectLst/>
                        </a:rPr>
                        <a:t>C2D messaging</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 HTTP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AMQP/WS</a:t>
                      </a:r>
                      <a:endParaRPr lang="en-US" sz="240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2123310239"/>
                  </a:ext>
                </a:extLst>
              </a:tr>
              <a:tr h="360296">
                <a:tc>
                  <a:txBody>
                    <a:bodyPr/>
                    <a:lstStyle/>
                    <a:p>
                      <a:pPr marL="0" marR="0">
                        <a:spcBef>
                          <a:spcPts val="0"/>
                        </a:spcBef>
                        <a:spcAft>
                          <a:spcPts val="0"/>
                        </a:spcAft>
                      </a:pPr>
                      <a:r>
                        <a:rPr lang="en-US" sz="1800">
                          <a:effectLst/>
                        </a:rPr>
                        <a:t>Direct method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MQTT/WS + AMQP/W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834162026"/>
                  </a:ext>
                </a:extLst>
              </a:tr>
              <a:tr h="360296">
                <a:tc>
                  <a:txBody>
                    <a:bodyPr/>
                    <a:lstStyle/>
                    <a:p>
                      <a:pPr marL="0" marR="0">
                        <a:spcBef>
                          <a:spcPts val="0"/>
                        </a:spcBef>
                        <a:spcAft>
                          <a:spcPts val="0"/>
                        </a:spcAft>
                      </a:pPr>
                      <a:r>
                        <a:rPr lang="en-US" sz="1800">
                          <a:effectLst/>
                        </a:rPr>
                        <a:t>Twin operation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MQTT/WS + AMQP/W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3669243945"/>
                  </a:ext>
                </a:extLst>
              </a:tr>
              <a:tr h="510340">
                <a:tc>
                  <a:txBody>
                    <a:bodyPr/>
                    <a:lstStyle/>
                    <a:p>
                      <a:pPr marL="0" marR="0">
                        <a:spcBef>
                          <a:spcPts val="0"/>
                        </a:spcBef>
                        <a:spcAft>
                          <a:spcPts val="0"/>
                        </a:spcAft>
                      </a:pPr>
                      <a:r>
                        <a:rPr lang="en-US" sz="1800">
                          <a:effectLst/>
                        </a:rPr>
                        <a:t>Device stream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C/C# SDK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AMQP/WS (NodeJS/C# SDK)</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35087928"/>
                  </a:ext>
                </a:extLst>
              </a:tr>
            </a:tbl>
          </a:graphicData>
        </a:graphic>
      </p:graphicFrame>
    </p:spTree>
    <p:extLst>
      <p:ext uri="{BB962C8B-B14F-4D97-AF65-F5344CB8AC3E}">
        <p14:creationId xmlns:p14="http://schemas.microsoft.com/office/powerpoint/2010/main" val="219503153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itle 1">
            <a:extLst>
              <a:ext uri="{FF2B5EF4-FFF2-40B4-BE49-F238E27FC236}">
                <a16:creationId xmlns:a16="http://schemas.microsoft.com/office/drawing/2014/main" id="{42414596-7480-4704-93E7-6F44B919D5CB}"/>
              </a:ext>
            </a:extLst>
          </p:cNvPr>
          <p:cNvSpPr txBox="1">
            <a:spLocks/>
          </p:cNvSpPr>
          <p:nvPr/>
        </p:nvSpPr>
        <p:spPr>
          <a:xfrm>
            <a:off x="444041" y="639898"/>
            <a:ext cx="11303917" cy="39754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dirty="0">
                <a:solidFill>
                  <a:schemeClr val="bg1"/>
                </a:solidFill>
              </a:rPr>
              <a:t>Azure IoT Hub SDKs</a:t>
            </a:r>
          </a:p>
        </p:txBody>
      </p:sp>
      <p:grpSp>
        <p:nvGrpSpPr>
          <p:cNvPr id="41" name="Group 40">
            <a:extLst>
              <a:ext uri="{FF2B5EF4-FFF2-40B4-BE49-F238E27FC236}">
                <a16:creationId xmlns:a16="http://schemas.microsoft.com/office/drawing/2014/main" id="{6FD4A2E6-A2B7-4B71-A9CF-DDA5F14D12D0}"/>
              </a:ext>
            </a:extLst>
          </p:cNvPr>
          <p:cNvGrpSpPr/>
          <p:nvPr/>
        </p:nvGrpSpPr>
        <p:grpSpPr>
          <a:xfrm>
            <a:off x="5306064" y="1875449"/>
            <a:ext cx="6301817" cy="3404140"/>
            <a:chOff x="2647086" y="2165148"/>
            <a:chExt cx="6301817" cy="3404140"/>
          </a:xfrm>
        </p:grpSpPr>
        <p:sp>
          <p:nvSpPr>
            <p:cNvPr id="42" name="Rectangle: Rounded Corners 41">
              <a:extLst>
                <a:ext uri="{FF2B5EF4-FFF2-40B4-BE49-F238E27FC236}">
                  <a16:creationId xmlns:a16="http://schemas.microsoft.com/office/drawing/2014/main" id="{23DBDE81-3DCF-4D14-8BCD-8FA2E9F9371F}"/>
                </a:ext>
              </a:extLst>
            </p:cNvPr>
            <p:cNvSpPr/>
            <p:nvPr/>
          </p:nvSpPr>
          <p:spPr>
            <a:xfrm>
              <a:off x="4671012" y="2165148"/>
              <a:ext cx="2253967" cy="12638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Device Provisioning Service</a:t>
              </a:r>
            </a:p>
          </p:txBody>
        </p:sp>
        <p:sp>
          <p:nvSpPr>
            <p:cNvPr id="43" name="Rectangle: Rounded Corners 42">
              <a:extLst>
                <a:ext uri="{FF2B5EF4-FFF2-40B4-BE49-F238E27FC236}">
                  <a16:creationId xmlns:a16="http://schemas.microsoft.com/office/drawing/2014/main" id="{69B1498B-0336-4E04-82A8-F6E8A3D5F454}"/>
                </a:ext>
              </a:extLst>
            </p:cNvPr>
            <p:cNvSpPr/>
            <p:nvPr/>
          </p:nvSpPr>
          <p:spPr>
            <a:xfrm>
              <a:off x="4671011" y="4163821"/>
              <a:ext cx="2253967" cy="12638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oT Hub</a:t>
              </a:r>
            </a:p>
          </p:txBody>
        </p:sp>
        <p:sp>
          <p:nvSpPr>
            <p:cNvPr id="44" name="Rectangle: Rounded Corners 43">
              <a:extLst>
                <a:ext uri="{FF2B5EF4-FFF2-40B4-BE49-F238E27FC236}">
                  <a16:creationId xmlns:a16="http://schemas.microsoft.com/office/drawing/2014/main" id="{DAAAD51B-68E3-4A3B-AD8A-4677DDAB81BA}"/>
                </a:ext>
              </a:extLst>
            </p:cNvPr>
            <p:cNvSpPr/>
            <p:nvPr/>
          </p:nvSpPr>
          <p:spPr>
            <a:xfrm>
              <a:off x="6858016" y="46045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IoT Hub</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45" name="Rectangle: Rounded Corners 44">
              <a:extLst>
                <a:ext uri="{FF2B5EF4-FFF2-40B4-BE49-F238E27FC236}">
                  <a16:creationId xmlns:a16="http://schemas.microsoft.com/office/drawing/2014/main" id="{CA4DD74A-773B-4887-9479-DA6714153843}"/>
                </a:ext>
              </a:extLst>
            </p:cNvPr>
            <p:cNvSpPr/>
            <p:nvPr/>
          </p:nvSpPr>
          <p:spPr>
            <a:xfrm>
              <a:off x="2725673" y="2665217"/>
              <a:ext cx="2085063" cy="964771"/>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rovisioning</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sp>
          <p:nvSpPr>
            <p:cNvPr id="46" name="Rectangle: Rounded Corners 45">
              <a:extLst>
                <a:ext uri="{FF2B5EF4-FFF2-40B4-BE49-F238E27FC236}">
                  <a16:creationId xmlns:a16="http://schemas.microsoft.com/office/drawing/2014/main" id="{CA23FF12-F0DD-414F-BBB4-0306E4CF4036}"/>
                </a:ext>
              </a:extLst>
            </p:cNvPr>
            <p:cNvSpPr/>
            <p:nvPr/>
          </p:nvSpPr>
          <p:spPr>
            <a:xfrm>
              <a:off x="6830725" y="26652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rovisioning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47" name="Rectangle: Rounded Corners 46">
              <a:extLst>
                <a:ext uri="{FF2B5EF4-FFF2-40B4-BE49-F238E27FC236}">
                  <a16:creationId xmlns:a16="http://schemas.microsoft.com/office/drawing/2014/main" id="{E0EA228A-BAE8-49C3-9327-9B18B350558B}"/>
                </a:ext>
              </a:extLst>
            </p:cNvPr>
            <p:cNvSpPr/>
            <p:nvPr/>
          </p:nvSpPr>
          <p:spPr>
            <a:xfrm>
              <a:off x="2647086" y="46045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IoT Hub</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grpSp>
      <p:sp>
        <p:nvSpPr>
          <p:cNvPr id="48" name="Text Placeholder 3">
            <a:extLst>
              <a:ext uri="{FF2B5EF4-FFF2-40B4-BE49-F238E27FC236}">
                <a16:creationId xmlns:a16="http://schemas.microsoft.com/office/drawing/2014/main" id="{A45D2706-C166-44B3-A9BA-C065C9344119}"/>
              </a:ext>
            </a:extLst>
          </p:cNvPr>
          <p:cNvSpPr txBox="1">
            <a:spLocks/>
          </p:cNvSpPr>
          <p:nvPr/>
        </p:nvSpPr>
        <p:spPr>
          <a:xfrm>
            <a:off x="424963" y="1828074"/>
            <a:ext cx="4299666" cy="461858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Device SDKs</a:t>
            </a:r>
            <a:r>
              <a:rPr kumimoji="0" lang="en-US" sz="1600" b="0" i="0" u="none" strike="noStrike" kern="1200" cap="none" spc="0" normalizeH="0" baseline="0" noProof="0" dirty="0">
                <a:ln>
                  <a:noFill/>
                </a:ln>
                <a:solidFill>
                  <a:schemeClr val="bg1"/>
                </a:solidFill>
                <a:effectLst/>
                <a:uLnTx/>
                <a:uFillTx/>
                <a:latin typeface="Segoe UI"/>
                <a:ea typeface="+mn-ea"/>
                <a:cs typeface="+mn-cs"/>
              </a:rPr>
              <a:t> enable you to build apps that run on your IoT devices. EX: These apps can send telemetry to your IoT hub, receive messages, methods, twin updates from your IoT Hub, or device registration with your DPS.</a:t>
            </a:r>
          </a:p>
          <a:p>
            <a:pPr marL="0" marR="0" lvl="0" indent="0" algn="l" defTabSz="914400" rtl="0" eaLnBrk="1" fontAlgn="auto" latinLnBrk="0" hangingPunct="1">
              <a:lnSpc>
                <a:spcPct val="120000"/>
              </a:lnSpc>
              <a:spcBef>
                <a:spcPts val="1000"/>
              </a:spcBef>
              <a:spcAft>
                <a:spcPts val="0"/>
              </a:spcAft>
              <a:buClrTx/>
              <a:buSzTx/>
              <a:buNone/>
              <a:tabLst/>
              <a:defRPr/>
            </a:pPr>
            <a:r>
              <a:rPr lang="en-US" sz="1600" dirty="0">
                <a:solidFill>
                  <a:srgbClr val="50E6FF"/>
                </a:solidFill>
                <a:latin typeface="Segoe UI"/>
              </a:rPr>
              <a:t>    </a:t>
            </a:r>
            <a:r>
              <a:rPr lang="en-US" sz="1600" b="0" i="0" dirty="0">
                <a:solidFill>
                  <a:srgbClr val="50E6FF"/>
                </a:solidFill>
                <a:effectLst/>
                <a:latin typeface="Segoe UI" panose="020B0502040204020203" pitchFamily="34" charset="0"/>
              </a:rPr>
              <a:t>C, .NET (C#), Node.js, Java, and Python</a:t>
            </a:r>
            <a:endParaRPr kumimoji="0" lang="en-US" sz="1600" b="0" i="0" u="none" strike="noStrike" kern="1200" cap="none" spc="0" normalizeH="0" baseline="0" noProof="0" dirty="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120000"/>
              </a:lnSpc>
              <a:spcBef>
                <a:spcPts val="1000"/>
              </a:spcBef>
              <a:spcAft>
                <a:spcPts val="0"/>
              </a:spcAft>
              <a:buClrTx/>
              <a:buSzTx/>
              <a:buNone/>
              <a:tabLst/>
              <a:defRPr/>
            </a:pPr>
            <a:endParaRPr kumimoji="0" lang="en-US" sz="1600" b="1" i="0" u="none" strike="noStrike" kern="1200" cap="none" spc="0" normalizeH="0" baseline="0" noProof="0" dirty="0">
              <a:ln>
                <a:noFill/>
              </a:ln>
              <a:solidFill>
                <a:srgbClr val="000000"/>
              </a:solidFill>
              <a:effectLst/>
              <a:uLnTx/>
              <a:uFillTx/>
              <a:latin typeface="Segoe UI"/>
              <a:ea typeface="+mn-ea"/>
              <a:cs typeface="+mn-cs"/>
            </a:endParaRP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Service SDKs</a:t>
            </a:r>
            <a:r>
              <a:rPr kumimoji="0" lang="en-US" sz="1600" b="0" i="0" u="none" strike="noStrike" kern="1200" cap="none" spc="0" normalizeH="0" baseline="0" noProof="0" dirty="0">
                <a:ln>
                  <a:noFill/>
                </a:ln>
                <a:solidFill>
                  <a:schemeClr val="bg1"/>
                </a:solidFill>
                <a:effectLst/>
                <a:uLnTx/>
                <a:uFillTx/>
                <a:latin typeface="Segoe UI"/>
                <a:ea typeface="+mn-ea"/>
                <a:cs typeface="+mn-cs"/>
              </a:rPr>
              <a:t> enable you to manage your IoT hub and DPS resources. EX: CRUD, send messages, schedule jobs, invoke direct methods, queries, send desired property updates to your IoT devices.</a:t>
            </a:r>
            <a:endParaRPr lang="en-US" sz="1600" dirty="0">
              <a:solidFill>
                <a:schemeClr val="bg1"/>
              </a:solidFill>
              <a:latin typeface="Segoe UI"/>
            </a:endParaRPr>
          </a:p>
          <a:p>
            <a:pPr marL="0" marR="0" lvl="0" indent="0" algn="l" defTabSz="914400" rtl="0" eaLnBrk="1" fontAlgn="auto" latinLnBrk="0" hangingPunct="1">
              <a:lnSpc>
                <a:spcPct val="120000"/>
              </a:lnSpc>
              <a:spcBef>
                <a:spcPts val="1000"/>
              </a:spcBef>
              <a:spcAft>
                <a:spcPts val="0"/>
              </a:spcAft>
              <a:buClrTx/>
              <a:buSzTx/>
              <a:buNone/>
              <a:tabLst/>
              <a:defRPr/>
            </a:pPr>
            <a:r>
              <a:rPr lang="en-US" sz="1600" b="0" i="0" dirty="0">
                <a:solidFill>
                  <a:srgbClr val="50E6FF"/>
                </a:solidFill>
                <a:effectLst/>
                <a:latin typeface="Segoe UI" panose="020B0502040204020203" pitchFamily="34" charset="0"/>
              </a:rPr>
              <a:t>    C, .NET (C#), Node.js, Java, iOS and Python</a:t>
            </a:r>
            <a:endParaRPr kumimoji="0" lang="en-US" sz="16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49" name="Rectangle: Rounded Corners 48">
            <a:extLst>
              <a:ext uri="{FF2B5EF4-FFF2-40B4-BE49-F238E27FC236}">
                <a16:creationId xmlns:a16="http://schemas.microsoft.com/office/drawing/2014/main" id="{04D6F7A1-67E5-4685-91BC-E8393ABE119B}"/>
              </a:ext>
            </a:extLst>
          </p:cNvPr>
          <p:cNvSpPr/>
          <p:nvPr/>
        </p:nvSpPr>
        <p:spPr>
          <a:xfrm>
            <a:off x="5097839" y="5237901"/>
            <a:ext cx="2090887" cy="96477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nP/DT</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sp>
        <p:nvSpPr>
          <p:cNvPr id="50" name="Rectangle: Rounded Corners 49">
            <a:extLst>
              <a:ext uri="{FF2B5EF4-FFF2-40B4-BE49-F238E27FC236}">
                <a16:creationId xmlns:a16="http://schemas.microsoft.com/office/drawing/2014/main" id="{464F8D3D-B3FB-44AD-9288-D54143A98C79}"/>
              </a:ext>
            </a:extLst>
          </p:cNvPr>
          <p:cNvSpPr/>
          <p:nvPr/>
        </p:nvSpPr>
        <p:spPr>
          <a:xfrm>
            <a:off x="9657071" y="5237901"/>
            <a:ext cx="2090887" cy="96477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nP/DT</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51" name="TextBox 50">
            <a:extLst>
              <a:ext uri="{FF2B5EF4-FFF2-40B4-BE49-F238E27FC236}">
                <a16:creationId xmlns:a16="http://schemas.microsoft.com/office/drawing/2014/main" id="{57657336-764D-457E-A843-1D031EED3332}"/>
              </a:ext>
            </a:extLst>
          </p:cNvPr>
          <p:cNvSpPr txBox="1"/>
          <p:nvPr/>
        </p:nvSpPr>
        <p:spPr>
          <a:xfrm>
            <a:off x="325958" y="1104965"/>
            <a:ext cx="6715496" cy="369332"/>
          </a:xfrm>
          <a:prstGeom prst="rect">
            <a:avLst/>
          </a:prstGeom>
          <a:noFill/>
        </p:spPr>
        <p:txBody>
          <a:bodyPr wrap="square">
            <a:spAutoFit/>
          </a:bodyPr>
          <a:lstStyle/>
          <a:p>
            <a:pPr defTabSz="913574">
              <a:spcBef>
                <a:spcPts val="1800"/>
              </a:spcBef>
              <a:defRPr/>
            </a:pPr>
            <a:r>
              <a:rPr lang="en-US" sz="1800" b="1" kern="0" spc="-29" dirty="0">
                <a:solidFill>
                  <a:srgbClr val="50E6FF"/>
                </a:solidFill>
                <a:latin typeface="Segoe UI" panose="020B0502040204020203" pitchFamily="34" charset="0"/>
                <a:cs typeface="Segoe UI" panose="020B0502040204020203" pitchFamily="34" charset="0"/>
              </a:rPr>
              <a:t>Multi-language and open-source SDKs – Hosted on Github</a:t>
            </a:r>
          </a:p>
        </p:txBody>
      </p:sp>
    </p:spTree>
    <p:extLst>
      <p:ext uri="{BB962C8B-B14F-4D97-AF65-F5344CB8AC3E}">
        <p14:creationId xmlns:p14="http://schemas.microsoft.com/office/powerpoint/2010/main" val="37675631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86BB3-975B-4BEF-9284-AADE61421FCF}"/>
              </a:ext>
            </a:extLst>
          </p:cNvPr>
          <p:cNvSpPr>
            <a:spLocks noGrp="1"/>
          </p:cNvSpPr>
          <p:nvPr>
            <p:ph type="title"/>
          </p:nvPr>
        </p:nvSpPr>
        <p:spPr>
          <a:xfrm>
            <a:off x="159951" y="84782"/>
            <a:ext cx="5715127" cy="572347"/>
          </a:xfrm>
        </p:spPr>
        <p:txBody>
          <a:bodyPr>
            <a:normAutofit fontScale="90000"/>
          </a:bodyPr>
          <a:lstStyle/>
          <a:p>
            <a:r>
              <a:rPr lang="en-US" sz="3599" spc="-102">
                <a:latin typeface="Segoe UI Semibold" panose="020B0702040204020203" pitchFamily="34" charset="0"/>
                <a:cs typeface="Segoe UI Semibold" panose="020B0702040204020203" pitchFamily="34" charset="0"/>
              </a:rPr>
              <a:t>Our story for Embedded</a:t>
            </a:r>
            <a:endParaRPr lang="en-US" sz="3999">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8CCE1A3B-FDE8-4D5D-B307-FB63D666A798}"/>
              </a:ext>
            </a:extLst>
          </p:cNvPr>
          <p:cNvSpPr/>
          <p:nvPr/>
        </p:nvSpPr>
        <p:spPr bwMode="auto">
          <a:xfrm>
            <a:off x="975286" y="2316631"/>
            <a:ext cx="1843468" cy="345883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2C60E804-95CB-43E4-A3E1-7EB323C1499B}"/>
              </a:ext>
            </a:extLst>
          </p:cNvPr>
          <p:cNvSpPr/>
          <p:nvPr/>
        </p:nvSpPr>
        <p:spPr bwMode="auto">
          <a:xfrm>
            <a:off x="1106649" y="2458550"/>
            <a:ext cx="1599783" cy="53088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OTHUB Client</a:t>
            </a:r>
          </a:p>
        </p:txBody>
      </p:sp>
      <p:sp>
        <p:nvSpPr>
          <p:cNvPr id="39" name="Rectangle 38">
            <a:extLst>
              <a:ext uri="{FF2B5EF4-FFF2-40B4-BE49-F238E27FC236}">
                <a16:creationId xmlns:a16="http://schemas.microsoft.com/office/drawing/2014/main" id="{FA638B2C-082C-40A2-819C-F9E4ED87FA91}"/>
              </a:ext>
            </a:extLst>
          </p:cNvPr>
          <p:cNvSpPr/>
          <p:nvPr/>
        </p:nvSpPr>
        <p:spPr bwMode="auto">
          <a:xfrm>
            <a:off x="1106650" y="310513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nsport </a:t>
            </a:r>
          </a:p>
        </p:txBody>
      </p:sp>
      <p:cxnSp>
        <p:nvCxnSpPr>
          <p:cNvPr id="5" name="Straight Connector 4">
            <a:extLst>
              <a:ext uri="{FF2B5EF4-FFF2-40B4-BE49-F238E27FC236}">
                <a16:creationId xmlns:a16="http://schemas.microsoft.com/office/drawing/2014/main" id="{AB032AA0-4562-4E8B-A64B-98E02BD9BCC9}"/>
              </a:ext>
            </a:extLst>
          </p:cNvPr>
          <p:cNvCxnSpPr>
            <a:cxnSpLocks/>
            <a:stCxn id="38" idx="2"/>
            <a:endCxn id="39" idx="0"/>
          </p:cNvCxnSpPr>
          <p:nvPr/>
        </p:nvCxnSpPr>
        <p:spPr>
          <a:xfrm>
            <a:off x="1906541" y="2989429"/>
            <a:ext cx="1" cy="11570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432FA454-5DF3-4AA4-A2B3-F26D30BA6447}"/>
              </a:ext>
            </a:extLst>
          </p:cNvPr>
          <p:cNvSpPr/>
          <p:nvPr/>
        </p:nvSpPr>
        <p:spPr bwMode="auto">
          <a:xfrm>
            <a:off x="1103734" y="1457644"/>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cxnSp>
        <p:nvCxnSpPr>
          <p:cNvPr id="51" name="Straight Connector 50">
            <a:extLst>
              <a:ext uri="{FF2B5EF4-FFF2-40B4-BE49-F238E27FC236}">
                <a16:creationId xmlns:a16="http://schemas.microsoft.com/office/drawing/2014/main" id="{00392CEB-D4A5-4A23-9335-9E489D5A8B5B}"/>
              </a:ext>
            </a:extLst>
          </p:cNvPr>
          <p:cNvCxnSpPr>
            <a:cxnSpLocks/>
            <a:stCxn id="49" idx="2"/>
            <a:endCxn id="38" idx="0"/>
          </p:cNvCxnSpPr>
          <p:nvPr/>
        </p:nvCxnSpPr>
        <p:spPr>
          <a:xfrm>
            <a:off x="1903625" y="1988524"/>
            <a:ext cx="2915" cy="4700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26A2A5F3-E1BC-4880-869F-6C48004854A9}"/>
              </a:ext>
            </a:extLst>
          </p:cNvPr>
          <p:cNvSpPr/>
          <p:nvPr/>
        </p:nvSpPr>
        <p:spPr bwMode="auto">
          <a:xfrm>
            <a:off x="1106650" y="376909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nsport Client </a:t>
            </a:r>
          </a:p>
        </p:txBody>
      </p:sp>
      <p:sp>
        <p:nvSpPr>
          <p:cNvPr id="54" name="Rectangle 53">
            <a:extLst>
              <a:ext uri="{FF2B5EF4-FFF2-40B4-BE49-F238E27FC236}">
                <a16:creationId xmlns:a16="http://schemas.microsoft.com/office/drawing/2014/main" id="{FE0587D6-FAAE-4189-AED3-DF0903666FFB}"/>
              </a:ext>
            </a:extLst>
          </p:cNvPr>
          <p:cNvSpPr/>
          <p:nvPr/>
        </p:nvSpPr>
        <p:spPr bwMode="auto">
          <a:xfrm>
            <a:off x="1106650" y="443305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55" name="Rectangle 54">
            <a:extLst>
              <a:ext uri="{FF2B5EF4-FFF2-40B4-BE49-F238E27FC236}">
                <a16:creationId xmlns:a16="http://schemas.microsoft.com/office/drawing/2014/main" id="{2BAA1BE2-118A-4632-AA1A-E15AEB225995}"/>
              </a:ext>
            </a:extLst>
          </p:cNvPr>
          <p:cNvSpPr/>
          <p:nvPr/>
        </p:nvSpPr>
        <p:spPr bwMode="auto">
          <a:xfrm>
            <a:off x="1106650" y="509701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8" name="Straight Connector 17">
            <a:extLst>
              <a:ext uri="{FF2B5EF4-FFF2-40B4-BE49-F238E27FC236}">
                <a16:creationId xmlns:a16="http://schemas.microsoft.com/office/drawing/2014/main" id="{7F589AB4-95DF-4692-B04F-1C4AE6B47F1D}"/>
              </a:ext>
            </a:extLst>
          </p:cNvPr>
          <p:cNvCxnSpPr>
            <a:cxnSpLocks/>
            <a:stCxn id="39" idx="2"/>
            <a:endCxn id="53" idx="0"/>
          </p:cNvCxnSpPr>
          <p:nvPr/>
        </p:nvCxnSpPr>
        <p:spPr>
          <a:xfrm>
            <a:off x="1906540" y="364906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3B5B461-6D20-485F-900A-39282BD4C212}"/>
              </a:ext>
            </a:extLst>
          </p:cNvPr>
          <p:cNvCxnSpPr>
            <a:cxnSpLocks/>
            <a:stCxn id="53" idx="2"/>
            <a:endCxn id="54" idx="0"/>
          </p:cNvCxnSpPr>
          <p:nvPr/>
        </p:nvCxnSpPr>
        <p:spPr>
          <a:xfrm>
            <a:off x="1906540" y="431302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CF66D7-A014-42B7-A3E6-07EC7931C8F7}"/>
              </a:ext>
            </a:extLst>
          </p:cNvPr>
          <p:cNvCxnSpPr>
            <a:cxnSpLocks/>
            <a:stCxn id="54" idx="2"/>
            <a:endCxn id="55" idx="0"/>
          </p:cNvCxnSpPr>
          <p:nvPr/>
        </p:nvCxnSpPr>
        <p:spPr>
          <a:xfrm>
            <a:off x="1906540" y="497698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5A92566E-C4F2-4EB9-9156-9CDFD73B96AD}"/>
              </a:ext>
            </a:extLst>
          </p:cNvPr>
          <p:cNvPicPr>
            <a:picLocks noChangeAspect="1"/>
          </p:cNvPicPr>
          <p:nvPr/>
        </p:nvPicPr>
        <p:blipFill>
          <a:blip r:embed="rId3"/>
          <a:stretch>
            <a:fillRect/>
          </a:stretch>
        </p:blipFill>
        <p:spPr>
          <a:xfrm>
            <a:off x="1628794" y="5881293"/>
            <a:ext cx="563820" cy="881763"/>
          </a:xfrm>
          <a:prstGeom prst="rect">
            <a:avLst/>
          </a:prstGeom>
        </p:spPr>
      </p:pic>
      <p:cxnSp>
        <p:nvCxnSpPr>
          <p:cNvPr id="30" name="Straight Connector 29">
            <a:extLst>
              <a:ext uri="{FF2B5EF4-FFF2-40B4-BE49-F238E27FC236}">
                <a16:creationId xmlns:a16="http://schemas.microsoft.com/office/drawing/2014/main" id="{8966B7E4-D938-48D8-8D39-71B0733B1319}"/>
              </a:ext>
            </a:extLst>
          </p:cNvPr>
          <p:cNvCxnSpPr>
            <a:cxnSpLocks/>
            <a:stCxn id="55" idx="2"/>
            <a:endCxn id="28" idx="0"/>
          </p:cNvCxnSpPr>
          <p:nvPr/>
        </p:nvCxnSpPr>
        <p:spPr>
          <a:xfrm>
            <a:off x="1906541" y="5640947"/>
            <a:ext cx="4164" cy="2403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90532D2-13B9-47B0-8F33-9CE94AEDCAF2}"/>
              </a:ext>
            </a:extLst>
          </p:cNvPr>
          <p:cNvSpPr/>
          <p:nvPr/>
        </p:nvSpPr>
        <p:spPr>
          <a:xfrm>
            <a:off x="816820" y="2099754"/>
            <a:ext cx="779550" cy="258465"/>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 SDK</a:t>
            </a:r>
          </a:p>
        </p:txBody>
      </p:sp>
      <p:sp>
        <p:nvSpPr>
          <p:cNvPr id="94" name="Rectangle 93">
            <a:extLst>
              <a:ext uri="{FF2B5EF4-FFF2-40B4-BE49-F238E27FC236}">
                <a16:creationId xmlns:a16="http://schemas.microsoft.com/office/drawing/2014/main" id="{FD765E0D-0C1E-46E2-81F7-2050400126D1}"/>
              </a:ext>
            </a:extLst>
          </p:cNvPr>
          <p:cNvSpPr/>
          <p:nvPr/>
        </p:nvSpPr>
        <p:spPr bwMode="auto">
          <a:xfrm>
            <a:off x="4332044" y="2385891"/>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sp>
        <p:nvSpPr>
          <p:cNvPr id="99" name="Rectangle 98">
            <a:extLst>
              <a:ext uri="{FF2B5EF4-FFF2-40B4-BE49-F238E27FC236}">
                <a16:creationId xmlns:a16="http://schemas.microsoft.com/office/drawing/2014/main" id="{34DDFC3F-41CD-4A07-8F40-65F16A0BDBCE}"/>
              </a:ext>
            </a:extLst>
          </p:cNvPr>
          <p:cNvSpPr/>
          <p:nvPr/>
        </p:nvSpPr>
        <p:spPr bwMode="auto">
          <a:xfrm>
            <a:off x="4776855" y="3489311"/>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QTT </a:t>
            </a:r>
          </a:p>
        </p:txBody>
      </p:sp>
      <p:sp>
        <p:nvSpPr>
          <p:cNvPr id="105" name="Rectangle 104">
            <a:extLst>
              <a:ext uri="{FF2B5EF4-FFF2-40B4-BE49-F238E27FC236}">
                <a16:creationId xmlns:a16="http://schemas.microsoft.com/office/drawing/2014/main" id="{03AEFE49-F58F-43F4-B26F-47C36AF62C6C}"/>
              </a:ext>
            </a:extLst>
          </p:cNvPr>
          <p:cNvSpPr/>
          <p:nvPr/>
        </p:nvSpPr>
        <p:spPr bwMode="auto">
          <a:xfrm>
            <a:off x="4776855" y="4153271"/>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106" name="Rectangle 105">
            <a:extLst>
              <a:ext uri="{FF2B5EF4-FFF2-40B4-BE49-F238E27FC236}">
                <a16:creationId xmlns:a16="http://schemas.microsoft.com/office/drawing/2014/main" id="{C57A924C-A33E-4018-A839-D75C6E7A266C}"/>
              </a:ext>
            </a:extLst>
          </p:cNvPr>
          <p:cNvSpPr/>
          <p:nvPr/>
        </p:nvSpPr>
        <p:spPr bwMode="auto">
          <a:xfrm>
            <a:off x="4776855" y="4817232"/>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08" name="Straight Connector 107">
            <a:extLst>
              <a:ext uri="{FF2B5EF4-FFF2-40B4-BE49-F238E27FC236}">
                <a16:creationId xmlns:a16="http://schemas.microsoft.com/office/drawing/2014/main" id="{2007CBBE-6713-4F82-A1E5-9046428C4F60}"/>
              </a:ext>
            </a:extLst>
          </p:cNvPr>
          <p:cNvCxnSpPr>
            <a:cxnSpLocks/>
            <a:stCxn id="99" idx="2"/>
            <a:endCxn id="105" idx="0"/>
          </p:cNvCxnSpPr>
          <p:nvPr/>
        </p:nvCxnSpPr>
        <p:spPr>
          <a:xfrm>
            <a:off x="5576745" y="4033240"/>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4A7D9B1-CB5D-4D7E-B549-3D965E9204A5}"/>
              </a:ext>
            </a:extLst>
          </p:cNvPr>
          <p:cNvCxnSpPr>
            <a:cxnSpLocks/>
            <a:stCxn id="105" idx="2"/>
            <a:endCxn id="106" idx="0"/>
          </p:cNvCxnSpPr>
          <p:nvPr/>
        </p:nvCxnSpPr>
        <p:spPr>
          <a:xfrm>
            <a:off x="5576745" y="4697200"/>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31DFF3A0-76B4-4972-9681-6943B1E34D9E}"/>
              </a:ext>
            </a:extLst>
          </p:cNvPr>
          <p:cNvPicPr>
            <a:picLocks noChangeAspect="1"/>
          </p:cNvPicPr>
          <p:nvPr/>
        </p:nvPicPr>
        <p:blipFill>
          <a:blip r:embed="rId3"/>
          <a:stretch>
            <a:fillRect/>
          </a:stretch>
        </p:blipFill>
        <p:spPr>
          <a:xfrm>
            <a:off x="5294835" y="5615871"/>
            <a:ext cx="563820" cy="881763"/>
          </a:xfrm>
          <a:prstGeom prst="rect">
            <a:avLst/>
          </a:prstGeom>
        </p:spPr>
      </p:pic>
      <p:cxnSp>
        <p:nvCxnSpPr>
          <p:cNvPr id="111" name="Straight Connector 110">
            <a:extLst>
              <a:ext uri="{FF2B5EF4-FFF2-40B4-BE49-F238E27FC236}">
                <a16:creationId xmlns:a16="http://schemas.microsoft.com/office/drawing/2014/main" id="{B24BC883-5FCC-4626-AC3C-2ED7660C73DD}"/>
              </a:ext>
            </a:extLst>
          </p:cNvPr>
          <p:cNvCxnSpPr>
            <a:cxnSpLocks/>
            <a:stCxn id="106" idx="2"/>
            <a:endCxn id="110" idx="0"/>
          </p:cNvCxnSpPr>
          <p:nvPr/>
        </p:nvCxnSpPr>
        <p:spPr>
          <a:xfrm>
            <a:off x="5576745" y="5361160"/>
            <a:ext cx="0" cy="25471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B8AE925F-A222-4345-89E4-6B69F2007A3B}"/>
              </a:ext>
            </a:extLst>
          </p:cNvPr>
          <p:cNvSpPr/>
          <p:nvPr/>
        </p:nvSpPr>
        <p:spPr>
          <a:xfrm>
            <a:off x="3979657" y="3366650"/>
            <a:ext cx="801656" cy="784626"/>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aho</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squitto</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a:p>
            <a:pPr marL="0" marR="0" lvl="0" indent="0" algn="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114" name="Rectangle 113">
            <a:extLst>
              <a:ext uri="{FF2B5EF4-FFF2-40B4-BE49-F238E27FC236}">
                <a16:creationId xmlns:a16="http://schemas.microsoft.com/office/drawing/2014/main" id="{E8FD5750-5F99-4EC8-B5CB-46885BE3A06D}"/>
              </a:ext>
            </a:extLst>
          </p:cNvPr>
          <p:cNvSpPr/>
          <p:nvPr/>
        </p:nvSpPr>
        <p:spPr>
          <a:xfrm>
            <a:off x="3868750" y="4201975"/>
            <a:ext cx="929768" cy="507699"/>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pen SSL</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hannel</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p:txBody>
      </p:sp>
      <p:sp>
        <p:nvSpPr>
          <p:cNvPr id="116" name="Rectangle 115">
            <a:extLst>
              <a:ext uri="{FF2B5EF4-FFF2-40B4-BE49-F238E27FC236}">
                <a16:creationId xmlns:a16="http://schemas.microsoft.com/office/drawing/2014/main" id="{76FDD0C9-98AC-4806-976F-F36F549B0851}"/>
              </a:ext>
            </a:extLst>
          </p:cNvPr>
          <p:cNvSpPr/>
          <p:nvPr/>
        </p:nvSpPr>
        <p:spPr>
          <a:xfrm>
            <a:off x="3956594" y="4856602"/>
            <a:ext cx="831767" cy="507699"/>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Win 32</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erkeley</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p:txBody>
      </p:sp>
      <p:sp>
        <p:nvSpPr>
          <p:cNvPr id="58" name="Rectangle 57">
            <a:extLst>
              <a:ext uri="{FF2B5EF4-FFF2-40B4-BE49-F238E27FC236}">
                <a16:creationId xmlns:a16="http://schemas.microsoft.com/office/drawing/2014/main" id="{E1D77DA5-657A-489B-99AE-45689086BB00}"/>
              </a:ext>
            </a:extLst>
          </p:cNvPr>
          <p:cNvSpPr/>
          <p:nvPr/>
        </p:nvSpPr>
        <p:spPr>
          <a:xfrm>
            <a:off x="921529" y="790249"/>
            <a:ext cx="1950983" cy="55693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1 – C SDK</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inux – Windows)</a:t>
            </a:r>
          </a:p>
        </p:txBody>
      </p:sp>
      <p:sp>
        <p:nvSpPr>
          <p:cNvPr id="59" name="Rectangle 58">
            <a:extLst>
              <a:ext uri="{FF2B5EF4-FFF2-40B4-BE49-F238E27FC236}">
                <a16:creationId xmlns:a16="http://schemas.microsoft.com/office/drawing/2014/main" id="{9A9060BD-6B22-4802-8E02-4E37880ACFE9}"/>
              </a:ext>
            </a:extLst>
          </p:cNvPr>
          <p:cNvSpPr/>
          <p:nvPr/>
        </p:nvSpPr>
        <p:spPr>
          <a:xfrm>
            <a:off x="4035123" y="805236"/>
            <a:ext cx="3425981" cy="55693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2 – new Embedded C SDK</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are Metal - Constrained devices)</a:t>
            </a:r>
          </a:p>
        </p:txBody>
      </p:sp>
      <p:sp>
        <p:nvSpPr>
          <p:cNvPr id="61" name="Rectangle 60">
            <a:extLst>
              <a:ext uri="{FF2B5EF4-FFF2-40B4-BE49-F238E27FC236}">
                <a16:creationId xmlns:a16="http://schemas.microsoft.com/office/drawing/2014/main" id="{A0CB57D2-9B2E-4187-81D4-E11E86A9C613}"/>
              </a:ext>
            </a:extLst>
          </p:cNvPr>
          <p:cNvSpPr/>
          <p:nvPr/>
        </p:nvSpPr>
        <p:spPr bwMode="auto">
          <a:xfrm>
            <a:off x="6307853" y="6334014"/>
            <a:ext cx="192544" cy="198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48CC44A9-D835-40C2-B95A-42721658DF9E}"/>
              </a:ext>
            </a:extLst>
          </p:cNvPr>
          <p:cNvSpPr/>
          <p:nvPr/>
        </p:nvSpPr>
        <p:spPr>
          <a:xfrm>
            <a:off x="6402072" y="6314967"/>
            <a:ext cx="1972776" cy="244618"/>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oT Developer’s responsibility</a:t>
            </a:r>
          </a:p>
        </p:txBody>
      </p:sp>
      <p:sp>
        <p:nvSpPr>
          <p:cNvPr id="63" name="Rectangle 62">
            <a:extLst>
              <a:ext uri="{FF2B5EF4-FFF2-40B4-BE49-F238E27FC236}">
                <a16:creationId xmlns:a16="http://schemas.microsoft.com/office/drawing/2014/main" id="{A3D3594E-B656-4E9E-9A45-3EB87DFE95B7}"/>
              </a:ext>
            </a:extLst>
          </p:cNvPr>
          <p:cNvSpPr/>
          <p:nvPr/>
        </p:nvSpPr>
        <p:spPr bwMode="auto">
          <a:xfrm>
            <a:off x="6307853" y="6597677"/>
            <a:ext cx="192544" cy="19806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Rectangle 63">
            <a:extLst>
              <a:ext uri="{FF2B5EF4-FFF2-40B4-BE49-F238E27FC236}">
                <a16:creationId xmlns:a16="http://schemas.microsoft.com/office/drawing/2014/main" id="{AD77093F-3258-4503-AA57-1F869D41DDE8}"/>
              </a:ext>
            </a:extLst>
          </p:cNvPr>
          <p:cNvSpPr/>
          <p:nvPr/>
        </p:nvSpPr>
        <p:spPr>
          <a:xfrm>
            <a:off x="6402072" y="6578631"/>
            <a:ext cx="1718868" cy="244618"/>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icrosoft’s responsibility</a:t>
            </a:r>
          </a:p>
        </p:txBody>
      </p:sp>
      <p:sp>
        <p:nvSpPr>
          <p:cNvPr id="69" name="Rectangle 68">
            <a:extLst>
              <a:ext uri="{FF2B5EF4-FFF2-40B4-BE49-F238E27FC236}">
                <a16:creationId xmlns:a16="http://schemas.microsoft.com/office/drawing/2014/main" id="{A5F128A3-B635-483F-9665-F6FE09CE535A}"/>
              </a:ext>
            </a:extLst>
          </p:cNvPr>
          <p:cNvSpPr/>
          <p:nvPr/>
        </p:nvSpPr>
        <p:spPr>
          <a:xfrm>
            <a:off x="6085565" y="1541464"/>
            <a:ext cx="1550997" cy="590777"/>
          </a:xfrm>
          <a:prstGeom prst="rect">
            <a:avLst/>
          </a:prstGeom>
        </p:spPr>
        <p:txBody>
          <a:bodyPr wrap="square">
            <a:spAutoFit/>
          </a:bodyPr>
          <a:lstStyle/>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elemetry (D2C), C2D,</a:t>
            </a:r>
          </a:p>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ice Twin, IoT Plug and Play, Direct Methods</a:t>
            </a:r>
          </a:p>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ice Provisioning </a:t>
            </a:r>
          </a:p>
        </p:txBody>
      </p:sp>
      <p:sp>
        <p:nvSpPr>
          <p:cNvPr id="70" name="Left Brace 69">
            <a:extLst>
              <a:ext uri="{FF2B5EF4-FFF2-40B4-BE49-F238E27FC236}">
                <a16:creationId xmlns:a16="http://schemas.microsoft.com/office/drawing/2014/main" id="{E0956007-5929-4366-AC40-163FA1F6C2B3}"/>
              </a:ext>
            </a:extLst>
          </p:cNvPr>
          <p:cNvSpPr/>
          <p:nvPr/>
        </p:nvSpPr>
        <p:spPr>
          <a:xfrm rot="16200000">
            <a:off x="6664181" y="1588845"/>
            <a:ext cx="193508" cy="1262062"/>
          </a:xfrm>
          <a:prstGeom prst="leftBrace">
            <a:avLst>
              <a:gd name="adj1" fmla="val 3195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 name="Rectangle 2">
            <a:extLst>
              <a:ext uri="{FF2B5EF4-FFF2-40B4-BE49-F238E27FC236}">
                <a16:creationId xmlns:a16="http://schemas.microsoft.com/office/drawing/2014/main" id="{96E39813-187E-4F12-8537-215713C1E1F4}"/>
              </a:ext>
            </a:extLst>
          </p:cNvPr>
          <p:cNvSpPr/>
          <p:nvPr/>
        </p:nvSpPr>
        <p:spPr bwMode="auto">
          <a:xfrm>
            <a:off x="6206357" y="2386447"/>
            <a:ext cx="1184879" cy="530881"/>
          </a:xfrm>
          <a:prstGeom prst="rect">
            <a:avLst/>
          </a:prstGeom>
          <a:solidFill>
            <a:srgbClr val="008272"/>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3236" tIns="46618" rIns="93236" bIns="46618" numCol="1" spcCol="0" rtlCol="0" fromWordArt="0" anchor="ctr"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mbedded C SDK</a:t>
            </a:r>
          </a:p>
        </p:txBody>
      </p:sp>
      <p:cxnSp>
        <p:nvCxnSpPr>
          <p:cNvPr id="7" name="Connector: Elbow 6">
            <a:extLst>
              <a:ext uri="{FF2B5EF4-FFF2-40B4-BE49-F238E27FC236}">
                <a16:creationId xmlns:a16="http://schemas.microsoft.com/office/drawing/2014/main" id="{2BF31538-16BA-4C48-8C11-391991842A90}"/>
              </a:ext>
            </a:extLst>
          </p:cNvPr>
          <p:cNvCxnSpPr>
            <a:cxnSpLocks/>
            <a:stCxn id="94" idx="3"/>
            <a:endCxn id="3" idx="1"/>
          </p:cNvCxnSpPr>
          <p:nvPr/>
        </p:nvCxnSpPr>
        <p:spPr>
          <a:xfrm>
            <a:off x="5931826" y="2651330"/>
            <a:ext cx="274530" cy="556"/>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C2ADE780-8440-4258-BEE8-2F6F0B2F5BC0}"/>
              </a:ext>
            </a:extLst>
          </p:cNvPr>
          <p:cNvCxnSpPr>
            <a:cxnSpLocks/>
            <a:stCxn id="94" idx="2"/>
            <a:endCxn id="99" idx="0"/>
          </p:cNvCxnSpPr>
          <p:nvPr/>
        </p:nvCxnSpPr>
        <p:spPr>
          <a:xfrm rot="16200000" flipH="1">
            <a:off x="5068070" y="2980636"/>
            <a:ext cx="572541" cy="444811"/>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015A2FC-687F-447B-AD2B-0F3BE1D7D83D}"/>
              </a:ext>
            </a:extLst>
          </p:cNvPr>
          <p:cNvSpPr/>
          <p:nvPr/>
        </p:nvSpPr>
        <p:spPr bwMode="auto">
          <a:xfrm>
            <a:off x="9273812" y="2403447"/>
            <a:ext cx="1952076" cy="3184943"/>
          </a:xfrm>
          <a:prstGeom prst="rect">
            <a:avLst/>
          </a:prstGeom>
          <a:solidFill>
            <a:srgbClr val="B0B0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4769F5B7-419C-4C56-90AC-5DE84BFE6449}"/>
              </a:ext>
            </a:extLst>
          </p:cNvPr>
          <p:cNvSpPr/>
          <p:nvPr/>
        </p:nvSpPr>
        <p:spPr bwMode="auto">
          <a:xfrm>
            <a:off x="9426585" y="2573484"/>
            <a:ext cx="1599783" cy="82788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360F6211-0DFA-47E2-80BA-1D330D21DA0C}"/>
              </a:ext>
            </a:extLst>
          </p:cNvPr>
          <p:cNvSpPr/>
          <p:nvPr/>
        </p:nvSpPr>
        <p:spPr bwMode="auto">
          <a:xfrm>
            <a:off x="10338641" y="2756331"/>
            <a:ext cx="609754" cy="426153"/>
          </a:xfrm>
          <a:prstGeom prst="rect">
            <a:avLst/>
          </a:prstGeom>
          <a:solidFill>
            <a:srgbClr val="008272"/>
          </a:solidFill>
          <a:ln w="190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mb. C SDK</a:t>
            </a:r>
          </a:p>
        </p:txBody>
      </p:sp>
      <p:sp>
        <p:nvSpPr>
          <p:cNvPr id="9" name="Rectangle 8">
            <a:extLst>
              <a:ext uri="{FF2B5EF4-FFF2-40B4-BE49-F238E27FC236}">
                <a16:creationId xmlns:a16="http://schemas.microsoft.com/office/drawing/2014/main" id="{3C7CDDD8-3B91-484B-B5C8-57AFC7A43112}"/>
              </a:ext>
            </a:extLst>
          </p:cNvPr>
          <p:cNvSpPr/>
          <p:nvPr/>
        </p:nvSpPr>
        <p:spPr bwMode="auto">
          <a:xfrm>
            <a:off x="9426088" y="1526363"/>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cxnSp>
        <p:nvCxnSpPr>
          <p:cNvPr id="10" name="Straight Connector 9">
            <a:extLst>
              <a:ext uri="{FF2B5EF4-FFF2-40B4-BE49-F238E27FC236}">
                <a16:creationId xmlns:a16="http://schemas.microsoft.com/office/drawing/2014/main" id="{5AE73077-7F0A-4EB0-B884-C9D68AEF393E}"/>
              </a:ext>
            </a:extLst>
          </p:cNvPr>
          <p:cNvCxnSpPr>
            <a:cxnSpLocks/>
            <a:stCxn id="9" idx="2"/>
            <a:endCxn id="6" idx="0"/>
          </p:cNvCxnSpPr>
          <p:nvPr/>
        </p:nvCxnSpPr>
        <p:spPr>
          <a:xfrm>
            <a:off x="10225980" y="2057245"/>
            <a:ext cx="497" cy="5162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5F695E2-8489-4E4E-AAC2-B7CB3649283B}"/>
              </a:ext>
            </a:extLst>
          </p:cNvPr>
          <p:cNvSpPr/>
          <p:nvPr/>
        </p:nvSpPr>
        <p:spPr bwMode="auto">
          <a:xfrm>
            <a:off x="9430232" y="358467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QTT</a:t>
            </a:r>
          </a:p>
        </p:txBody>
      </p:sp>
      <p:sp>
        <p:nvSpPr>
          <p:cNvPr id="13" name="Rectangle 12">
            <a:extLst>
              <a:ext uri="{FF2B5EF4-FFF2-40B4-BE49-F238E27FC236}">
                <a16:creationId xmlns:a16="http://schemas.microsoft.com/office/drawing/2014/main" id="{CA903095-936A-4A34-A7CB-BD3862F44991}"/>
              </a:ext>
            </a:extLst>
          </p:cNvPr>
          <p:cNvSpPr/>
          <p:nvPr/>
        </p:nvSpPr>
        <p:spPr bwMode="auto">
          <a:xfrm>
            <a:off x="9430232" y="424863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14" name="Rectangle 13">
            <a:extLst>
              <a:ext uri="{FF2B5EF4-FFF2-40B4-BE49-F238E27FC236}">
                <a16:creationId xmlns:a16="http://schemas.microsoft.com/office/drawing/2014/main" id="{078F823F-E30F-48E1-BEA5-B7E8645C3A53}"/>
              </a:ext>
            </a:extLst>
          </p:cNvPr>
          <p:cNvSpPr/>
          <p:nvPr/>
        </p:nvSpPr>
        <p:spPr bwMode="auto">
          <a:xfrm>
            <a:off x="9430232" y="491259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5" name="Straight Connector 14">
            <a:extLst>
              <a:ext uri="{FF2B5EF4-FFF2-40B4-BE49-F238E27FC236}">
                <a16:creationId xmlns:a16="http://schemas.microsoft.com/office/drawing/2014/main" id="{498B3ECA-73C6-430B-8766-3101A6A34EC5}"/>
              </a:ext>
            </a:extLst>
          </p:cNvPr>
          <p:cNvCxnSpPr>
            <a:cxnSpLocks/>
            <a:stCxn id="6" idx="2"/>
            <a:endCxn id="11" idx="0"/>
          </p:cNvCxnSpPr>
          <p:nvPr/>
        </p:nvCxnSpPr>
        <p:spPr>
          <a:xfrm>
            <a:off x="10226476" y="3401363"/>
            <a:ext cx="3647" cy="18331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39B185-3F5F-4A1B-AEA5-9A26DEDF146F}"/>
              </a:ext>
            </a:extLst>
          </p:cNvPr>
          <p:cNvCxnSpPr>
            <a:cxnSpLocks/>
            <a:stCxn id="11" idx="2"/>
            <a:endCxn id="13" idx="0"/>
          </p:cNvCxnSpPr>
          <p:nvPr/>
        </p:nvCxnSpPr>
        <p:spPr>
          <a:xfrm>
            <a:off x="10230122" y="4128602"/>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0C0933-C3BC-471D-8650-9320C9A68322}"/>
              </a:ext>
            </a:extLst>
          </p:cNvPr>
          <p:cNvCxnSpPr>
            <a:cxnSpLocks/>
            <a:stCxn id="13" idx="2"/>
            <a:endCxn id="14" idx="0"/>
          </p:cNvCxnSpPr>
          <p:nvPr/>
        </p:nvCxnSpPr>
        <p:spPr>
          <a:xfrm>
            <a:off x="10230122" y="4792562"/>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4089928-7E34-4121-9CB6-3993175A961C}"/>
              </a:ext>
            </a:extLst>
          </p:cNvPr>
          <p:cNvPicPr>
            <a:picLocks noChangeAspect="1"/>
          </p:cNvPicPr>
          <p:nvPr/>
        </p:nvPicPr>
        <p:blipFill>
          <a:blip r:embed="rId3"/>
          <a:stretch>
            <a:fillRect/>
          </a:stretch>
        </p:blipFill>
        <p:spPr>
          <a:xfrm>
            <a:off x="9945653" y="5696869"/>
            <a:ext cx="563820" cy="881763"/>
          </a:xfrm>
          <a:prstGeom prst="rect">
            <a:avLst/>
          </a:prstGeom>
        </p:spPr>
      </p:pic>
      <p:cxnSp>
        <p:nvCxnSpPr>
          <p:cNvPr id="21" name="Straight Connector 20">
            <a:extLst>
              <a:ext uri="{FF2B5EF4-FFF2-40B4-BE49-F238E27FC236}">
                <a16:creationId xmlns:a16="http://schemas.microsoft.com/office/drawing/2014/main" id="{0E6A27DD-7E25-41CB-8EA0-FAD106D620FE}"/>
              </a:ext>
            </a:extLst>
          </p:cNvPr>
          <p:cNvCxnSpPr>
            <a:cxnSpLocks/>
            <a:stCxn id="14" idx="2"/>
            <a:endCxn id="19" idx="0"/>
          </p:cNvCxnSpPr>
          <p:nvPr/>
        </p:nvCxnSpPr>
        <p:spPr>
          <a:xfrm flipH="1">
            <a:off x="10227564" y="5456523"/>
            <a:ext cx="2559" cy="2403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90AD6E82-A0F5-4328-84B8-764031D7335F}"/>
              </a:ext>
            </a:extLst>
          </p:cNvPr>
          <p:cNvSpPr/>
          <p:nvPr/>
        </p:nvSpPr>
        <p:spPr>
          <a:xfrm>
            <a:off x="9369896" y="2776157"/>
            <a:ext cx="999764" cy="42462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oT middleware</a:t>
            </a:r>
          </a:p>
        </p:txBody>
      </p:sp>
      <p:sp>
        <p:nvSpPr>
          <p:cNvPr id="24" name="Rectangle 23">
            <a:extLst>
              <a:ext uri="{FF2B5EF4-FFF2-40B4-BE49-F238E27FC236}">
                <a16:creationId xmlns:a16="http://schemas.microsoft.com/office/drawing/2014/main" id="{984B3036-4101-4F7F-A3C3-E0B8B483ED8A}"/>
              </a:ext>
            </a:extLst>
          </p:cNvPr>
          <p:cNvSpPr/>
          <p:nvPr/>
        </p:nvSpPr>
        <p:spPr>
          <a:xfrm>
            <a:off x="10228604" y="2099753"/>
            <a:ext cx="1265088" cy="313850"/>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RTOS</a:t>
            </a:r>
          </a:p>
        </p:txBody>
      </p:sp>
      <p:sp>
        <p:nvSpPr>
          <p:cNvPr id="25" name="Rectangle 24">
            <a:extLst>
              <a:ext uri="{FF2B5EF4-FFF2-40B4-BE49-F238E27FC236}">
                <a16:creationId xmlns:a16="http://schemas.microsoft.com/office/drawing/2014/main" id="{E9E398C0-B94B-41DA-90C2-243D279DB6A5}"/>
              </a:ext>
            </a:extLst>
          </p:cNvPr>
          <p:cNvSpPr/>
          <p:nvPr/>
        </p:nvSpPr>
        <p:spPr>
          <a:xfrm>
            <a:off x="9132486" y="706215"/>
            <a:ext cx="2524927" cy="7784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3 – Azure RTOS + Azure IoT middleware</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TOS-based Constrained devices)</a:t>
            </a:r>
          </a:p>
        </p:txBody>
      </p:sp>
      <p:sp>
        <p:nvSpPr>
          <p:cNvPr id="124" name="Rectangle 123">
            <a:extLst>
              <a:ext uri="{FF2B5EF4-FFF2-40B4-BE49-F238E27FC236}">
                <a16:creationId xmlns:a16="http://schemas.microsoft.com/office/drawing/2014/main" id="{005EC59A-535B-4589-BEE3-285A4A2633A7}"/>
              </a:ext>
            </a:extLst>
          </p:cNvPr>
          <p:cNvSpPr/>
          <p:nvPr/>
        </p:nvSpPr>
        <p:spPr>
          <a:xfrm>
            <a:off x="1985257" y="3155510"/>
            <a:ext cx="929768"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HTTP</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QTT</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AMQP</a:t>
            </a:r>
          </a:p>
        </p:txBody>
      </p:sp>
      <p:sp>
        <p:nvSpPr>
          <p:cNvPr id="125" name="Rectangle 124">
            <a:extLst>
              <a:ext uri="{FF2B5EF4-FFF2-40B4-BE49-F238E27FC236}">
                <a16:creationId xmlns:a16="http://schemas.microsoft.com/office/drawing/2014/main" id="{8D927062-C918-4290-9756-B0D4B7BC4A2F}"/>
              </a:ext>
            </a:extLst>
          </p:cNvPr>
          <p:cNvSpPr/>
          <p:nvPr/>
        </p:nvSpPr>
        <p:spPr>
          <a:xfrm>
            <a:off x="1910110" y="4467628"/>
            <a:ext cx="929768"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Open SSL</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Schannel</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bed TLS</a:t>
            </a:r>
          </a:p>
        </p:txBody>
      </p:sp>
      <p:sp>
        <p:nvSpPr>
          <p:cNvPr id="126" name="Rectangle 125">
            <a:extLst>
              <a:ext uri="{FF2B5EF4-FFF2-40B4-BE49-F238E27FC236}">
                <a16:creationId xmlns:a16="http://schemas.microsoft.com/office/drawing/2014/main" id="{3FF45997-3A98-4675-8B9D-11120601B345}"/>
              </a:ext>
            </a:extLst>
          </p:cNvPr>
          <p:cNvSpPr/>
          <p:nvPr/>
        </p:nvSpPr>
        <p:spPr>
          <a:xfrm>
            <a:off x="2014226" y="5125235"/>
            <a:ext cx="831767"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Win 32</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Berkeley</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bed</a:t>
            </a:r>
          </a:p>
        </p:txBody>
      </p:sp>
      <p:cxnSp>
        <p:nvCxnSpPr>
          <p:cNvPr id="44" name="Straight Connector 43">
            <a:extLst>
              <a:ext uri="{FF2B5EF4-FFF2-40B4-BE49-F238E27FC236}">
                <a16:creationId xmlns:a16="http://schemas.microsoft.com/office/drawing/2014/main" id="{55BF6DC1-C3A3-4CCE-95D7-273CA7C6E519}"/>
              </a:ext>
            </a:extLst>
          </p:cNvPr>
          <p:cNvCxnSpPr/>
          <p:nvPr/>
        </p:nvCxnSpPr>
        <p:spPr>
          <a:xfrm>
            <a:off x="3480089" y="805237"/>
            <a:ext cx="16128" cy="5484971"/>
          </a:xfrm>
          <a:prstGeom prst="line">
            <a:avLst/>
          </a:prstGeom>
          <a:ln w="57150">
            <a:headEnd type="none"/>
            <a:tailEnd type="none"/>
          </a:ln>
        </p:spPr>
        <p:style>
          <a:lnRef idx="1">
            <a:schemeClr val="accent5"/>
          </a:lnRef>
          <a:fillRef idx="0">
            <a:schemeClr val="accent5"/>
          </a:fillRef>
          <a:effectRef idx="0">
            <a:schemeClr val="accent5"/>
          </a:effectRef>
          <a:fontRef idx="minor">
            <a:schemeClr val="tx1"/>
          </a:fontRef>
        </p:style>
      </p:cxnSp>
      <p:cxnSp>
        <p:nvCxnSpPr>
          <p:cNvPr id="128" name="Straight Connector 127">
            <a:extLst>
              <a:ext uri="{FF2B5EF4-FFF2-40B4-BE49-F238E27FC236}">
                <a16:creationId xmlns:a16="http://schemas.microsoft.com/office/drawing/2014/main" id="{77E91F95-9F0C-4A16-944F-98DF90F8BAA5}"/>
              </a:ext>
            </a:extLst>
          </p:cNvPr>
          <p:cNvCxnSpPr/>
          <p:nvPr/>
        </p:nvCxnSpPr>
        <p:spPr>
          <a:xfrm>
            <a:off x="8346609" y="800500"/>
            <a:ext cx="16128" cy="5484971"/>
          </a:xfrm>
          <a:prstGeom prst="line">
            <a:avLst/>
          </a:prstGeom>
          <a:ln w="57150">
            <a:headEnd type="none"/>
            <a:tailEnd type="none"/>
          </a:ln>
        </p:spPr>
        <p:style>
          <a:lnRef idx="1">
            <a:schemeClr val="accent5"/>
          </a:lnRef>
          <a:fillRef idx="0">
            <a:schemeClr val="accent5"/>
          </a:fillRef>
          <a:effectRef idx="0">
            <a:schemeClr val="accent5"/>
          </a:effectRef>
          <a:fontRef idx="minor">
            <a:schemeClr val="tx1"/>
          </a:fontRef>
        </p:style>
      </p:cxnSp>
      <p:sp>
        <p:nvSpPr>
          <p:cNvPr id="129" name="Rectangle 128">
            <a:extLst>
              <a:ext uri="{FF2B5EF4-FFF2-40B4-BE49-F238E27FC236}">
                <a16:creationId xmlns:a16="http://schemas.microsoft.com/office/drawing/2014/main" id="{0B6CB177-5309-49D6-9B6D-34624363912A}"/>
              </a:ext>
            </a:extLst>
          </p:cNvPr>
          <p:cNvSpPr/>
          <p:nvPr/>
        </p:nvSpPr>
        <p:spPr>
          <a:xfrm>
            <a:off x="10377924" y="3738776"/>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
        <p:nvSpPr>
          <p:cNvPr id="130" name="Rectangle 129">
            <a:extLst>
              <a:ext uri="{FF2B5EF4-FFF2-40B4-BE49-F238E27FC236}">
                <a16:creationId xmlns:a16="http://schemas.microsoft.com/office/drawing/2014/main" id="{C5AF99E1-DFFF-4DA7-8BE3-19FDFC73656F}"/>
              </a:ext>
            </a:extLst>
          </p:cNvPr>
          <p:cNvSpPr/>
          <p:nvPr/>
        </p:nvSpPr>
        <p:spPr>
          <a:xfrm>
            <a:off x="10377924" y="4416780"/>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
        <p:nvSpPr>
          <p:cNvPr id="131" name="Rectangle 130">
            <a:extLst>
              <a:ext uri="{FF2B5EF4-FFF2-40B4-BE49-F238E27FC236}">
                <a16:creationId xmlns:a16="http://schemas.microsoft.com/office/drawing/2014/main" id="{71426B83-8C28-43AA-B95A-057F8D1F6212}"/>
              </a:ext>
            </a:extLst>
          </p:cNvPr>
          <p:cNvSpPr/>
          <p:nvPr/>
        </p:nvSpPr>
        <p:spPr>
          <a:xfrm>
            <a:off x="10377924" y="5079547"/>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Tree>
    <p:extLst>
      <p:ext uri="{BB962C8B-B14F-4D97-AF65-F5344CB8AC3E}">
        <p14:creationId xmlns:p14="http://schemas.microsoft.com/office/powerpoint/2010/main" val="11019722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1F2D33-5CA7-40E1-B877-5B0C3AB6A79F}"/>
              </a:ext>
            </a:extLst>
          </p:cNvPr>
          <p:cNvSpPr/>
          <p:nvPr/>
        </p:nvSpPr>
        <p:spPr>
          <a:xfrm>
            <a:off x="1718234" y="1236005"/>
            <a:ext cx="7869555" cy="5355294"/>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a:solidFill>
                  <a:srgbClr val="243A5E">
                    <a:lumMod val="50000"/>
                  </a:srgbClr>
                </a:solidFill>
                <a:latin typeface="Segoe UI" panose="020B0502040204020203" pitchFamily="34" charset="0"/>
                <a:cs typeface="Segoe UI" panose="020B0502040204020203" pitchFamily="34" charset="0"/>
                <a:sym typeface="Helvetica Neue Medium"/>
              </a:rPr>
              <a:t>Insights</a:t>
            </a:r>
          </a:p>
        </p:txBody>
      </p:sp>
      <p:sp>
        <p:nvSpPr>
          <p:cNvPr id="16" name="Rectangle 15">
            <a:extLst>
              <a:ext uri="{FF2B5EF4-FFF2-40B4-BE49-F238E27FC236}">
                <a16:creationId xmlns:a16="http://schemas.microsoft.com/office/drawing/2014/main" id="{9EBBFE09-2A09-4DBF-A88E-0D43EEE91C08}"/>
              </a:ext>
            </a:extLst>
          </p:cNvPr>
          <p:cNvSpPr/>
          <p:nvPr/>
        </p:nvSpPr>
        <p:spPr>
          <a:xfrm>
            <a:off x="10115678" y="1232789"/>
            <a:ext cx="1929706" cy="5355288"/>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sz="1999">
                <a:solidFill>
                  <a:srgbClr val="243A5E">
                    <a:lumMod val="50000"/>
                  </a:srgbClr>
                </a:solidFill>
                <a:latin typeface="Segoe UI" panose="020B0502040204020203" pitchFamily="34" charset="0"/>
                <a:cs typeface="Segoe UI" panose="020B0502040204020203" pitchFamily="34" charset="0"/>
                <a:sym typeface="Helvetica Neue Medium"/>
              </a:rPr>
              <a:t>Actions</a:t>
            </a:r>
          </a:p>
        </p:txBody>
      </p:sp>
      <p:sp>
        <p:nvSpPr>
          <p:cNvPr id="14" name="Rectangle 13">
            <a:extLst>
              <a:ext uri="{FF2B5EF4-FFF2-40B4-BE49-F238E27FC236}">
                <a16:creationId xmlns:a16="http://schemas.microsoft.com/office/drawing/2014/main" id="{A407557D-045A-4CA3-9D5D-399E1B04E575}"/>
              </a:ext>
            </a:extLst>
          </p:cNvPr>
          <p:cNvSpPr/>
          <p:nvPr/>
        </p:nvSpPr>
        <p:spPr>
          <a:xfrm>
            <a:off x="102889" y="1232790"/>
            <a:ext cx="1170614" cy="5355281"/>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sz="1999">
                <a:solidFill>
                  <a:srgbClr val="243A5E">
                    <a:lumMod val="50000"/>
                  </a:srgbClr>
                </a:solidFill>
                <a:latin typeface="Segoe UI" panose="020B0502040204020203" pitchFamily="34" charset="0"/>
                <a:cs typeface="Segoe UI" panose="020B0502040204020203" pitchFamily="34" charset="0"/>
                <a:sym typeface="Helvetica Neue Medium"/>
              </a:rPr>
              <a:t>Things</a:t>
            </a:r>
          </a:p>
        </p:txBody>
      </p:sp>
      <p:sp>
        <p:nvSpPr>
          <p:cNvPr id="112" name="Rectangle 111">
            <a:extLst>
              <a:ext uri="{FF2B5EF4-FFF2-40B4-BE49-F238E27FC236}">
                <a16:creationId xmlns:a16="http://schemas.microsoft.com/office/drawing/2014/main" id="{0FDBB4ED-7A5B-4633-A92C-29B77AC1AAE0}"/>
              </a:ext>
            </a:extLst>
          </p:cNvPr>
          <p:cNvSpPr/>
          <p:nvPr/>
        </p:nvSpPr>
        <p:spPr>
          <a:xfrm>
            <a:off x="1788450" y="2247855"/>
            <a:ext cx="4150571"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825500" hangingPunct="0"/>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113" name="Rectangle 112">
            <a:extLst>
              <a:ext uri="{FF2B5EF4-FFF2-40B4-BE49-F238E27FC236}">
                <a16:creationId xmlns:a16="http://schemas.microsoft.com/office/drawing/2014/main" id="{BC3B5C88-4B16-47C0-B713-1F9D4306903E}"/>
              </a:ext>
            </a:extLst>
          </p:cNvPr>
          <p:cNvSpPr/>
          <p:nvPr/>
        </p:nvSpPr>
        <p:spPr>
          <a:xfrm>
            <a:off x="3283350" y="2413276"/>
            <a:ext cx="1181469" cy="3111029"/>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enrichment</a:t>
            </a:r>
          </a:p>
        </p:txBody>
      </p:sp>
      <p:sp>
        <p:nvSpPr>
          <p:cNvPr id="114" name="Rectangle 113">
            <a:extLst>
              <a:ext uri="{FF2B5EF4-FFF2-40B4-BE49-F238E27FC236}">
                <a16:creationId xmlns:a16="http://schemas.microsoft.com/office/drawing/2014/main" id="{0BBC1200-87A4-452A-B40E-B315DBCB6F0C}"/>
              </a:ext>
            </a:extLst>
          </p:cNvPr>
          <p:cNvSpPr/>
          <p:nvPr/>
        </p:nvSpPr>
        <p:spPr>
          <a:xfrm>
            <a:off x="4602165" y="2413275"/>
            <a:ext cx="1181469"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partitioning</a:t>
            </a:r>
          </a:p>
        </p:txBody>
      </p:sp>
      <p:pic>
        <p:nvPicPr>
          <p:cNvPr id="116" name="Picture 115">
            <a:extLst>
              <a:ext uri="{FF2B5EF4-FFF2-40B4-BE49-F238E27FC236}">
                <a16:creationId xmlns:a16="http://schemas.microsoft.com/office/drawing/2014/main" id="{9017395A-2240-492E-B2E3-92E35FB1E9E1}"/>
              </a:ext>
            </a:extLst>
          </p:cNvPr>
          <p:cNvPicPr>
            <a:picLocks noChangeAspect="1"/>
          </p:cNvPicPr>
          <p:nvPr/>
        </p:nvPicPr>
        <p:blipFill>
          <a:blip r:embed="rId3"/>
          <a:stretch>
            <a:fillRect/>
          </a:stretch>
        </p:blipFill>
        <p:spPr>
          <a:xfrm>
            <a:off x="225189" y="3095452"/>
            <a:ext cx="934953" cy="1430933"/>
          </a:xfrm>
          <a:prstGeom prst="rect">
            <a:avLst/>
          </a:prstGeom>
          <a:effectLst>
            <a:outerShdw blurRad="50800" dist="38100" dir="2700000" algn="tl" rotWithShape="0">
              <a:prstClr val="black">
                <a:alpha val="40000"/>
              </a:prstClr>
            </a:outerShdw>
          </a:effectLst>
        </p:spPr>
      </p:pic>
      <p:pic>
        <p:nvPicPr>
          <p:cNvPr id="118" name="Picture 2" descr="Reekoh | Plugins">
            <a:extLst>
              <a:ext uri="{FF2B5EF4-FFF2-40B4-BE49-F238E27FC236}">
                <a16:creationId xmlns:a16="http://schemas.microsoft.com/office/drawing/2014/main" id="{CDCCC241-5601-453D-A842-1C484B9CF4CE}"/>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2027500" y="3171063"/>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7D6839E6-EE34-4A7B-B888-1AEBE0227FF9}"/>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522" b="93478" l="7500" r="92500">
                        <a14:foregroundMark x1="41250" y1="82609" x2="41250" y2="82609"/>
                        <a14:foregroundMark x1="42500" y1="89130" x2="41250" y2="92391"/>
                        <a14:foregroundMark x1="32000" y1="89130" x2="40000" y2="93478"/>
                        <a14:foregroundMark x1="30000" y1="88043" x2="32000" y2="89130"/>
                        <a14:foregroundMark x1="82500" y1="81522" x2="86250" y2="81522"/>
                        <a14:foregroundMark x1="78750" y1="52174" x2="80000" y2="48913"/>
                        <a14:foregroundMark x1="92500" y1="21739" x2="92500" y2="18478"/>
                        <a14:foregroundMark x1="57500" y1="7609" x2="8750" y2="42391"/>
                        <a14:foregroundMark x1="8750" y1="42391" x2="7500" y2="66304"/>
                        <a14:foregroundMark x1="7500" y1="7609" x2="56250" y2="6522"/>
                        <a14:foregroundMark x1="82082" y1="86957" x2="78750" y2="89130"/>
                        <a14:foregroundMark x1="83749" y1="85870" x2="82082" y2="86957"/>
                        <a14:foregroundMark x1="88750" y1="82609" x2="86142" y2="84310"/>
                        <a14:foregroundMark x1="88751" y1="89130" x2="92500" y2="86957"/>
                        <a14:foregroundMark x1="86876" y1="90217" x2="88751" y2="89130"/>
                        <a14:foregroundMark x1="81250" y1="93478" x2="86876" y2="90217"/>
                        <a14:foregroundMark x1="88750" y1="91304" x2="88750" y2="91304"/>
                        <a14:foregroundMark x1="90000" y1="90217" x2="88750" y2="92391"/>
                        <a14:backgroundMark x1="37500" y1="88043" x2="37500" y2="88043"/>
                        <a14:backgroundMark x1="36250" y1="89130" x2="36250" y2="89130"/>
                        <a14:backgroundMark x1="33750" y1="89130" x2="33750" y2="89130"/>
                        <a14:backgroundMark x1="85000" y1="86957" x2="85000" y2="86957"/>
                        <a14:backgroundMark x1="86250" y1="85870" x2="86250" y2="85870"/>
                        <a14:backgroundMark x1="85000" y1="85870" x2="86250" y2="86957"/>
                        <a14:backgroundMark x1="83750" y1="86957" x2="83750" y2="86957"/>
                        <a14:backgroundMark x1="83750" y1="85870" x2="85000" y2="85870"/>
                        <a14:backgroundMark x1="85000" y1="84783" x2="85000" y2="84783"/>
                        <a14:backgroundMark x1="82500" y1="86957" x2="82500" y2="86957"/>
                        <a14:backgroundMark x1="86250" y1="89130" x2="86250" y2="89130"/>
                        <a14:backgroundMark x1="85000" y1="90217" x2="85000" y2="90217"/>
                      </a14:backgroundRemoval>
                    </a14:imgEffect>
                  </a14:imgLayer>
                </a14:imgProps>
              </a:ext>
            </a:extLst>
          </a:blip>
          <a:stretch>
            <a:fillRect/>
          </a:stretch>
        </p:blipFill>
        <p:spPr>
          <a:xfrm>
            <a:off x="3407884" y="3509633"/>
            <a:ext cx="761908" cy="876194"/>
          </a:xfrm>
          <a:prstGeom prst="rect">
            <a:avLst/>
          </a:prstGeom>
          <a:effectLst>
            <a:outerShdw blurRad="50800" dist="38100" dir="2700000" algn="tl" rotWithShape="0">
              <a:prstClr val="black">
                <a:alpha val="40000"/>
              </a:prstClr>
            </a:outerShdw>
          </a:effectLst>
        </p:spPr>
      </p:pic>
      <p:cxnSp>
        <p:nvCxnSpPr>
          <p:cNvPr id="123" name="Straight Arrow Connector 122">
            <a:extLst>
              <a:ext uri="{FF2B5EF4-FFF2-40B4-BE49-F238E27FC236}">
                <a16:creationId xmlns:a16="http://schemas.microsoft.com/office/drawing/2014/main" id="{8D4A6498-B6FC-4178-97FB-13F38EC58E96}"/>
              </a:ext>
            </a:extLst>
          </p:cNvPr>
          <p:cNvCxnSpPr>
            <a:cxnSpLocks/>
          </p:cNvCxnSpPr>
          <p:nvPr/>
        </p:nvCxnSpPr>
        <p:spPr>
          <a:xfrm>
            <a:off x="1269575" y="3660615"/>
            <a:ext cx="435959" cy="0"/>
          </a:xfrm>
          <a:prstGeom prst="straightConnector1">
            <a:avLst/>
          </a:prstGeom>
          <a:noFill/>
          <a:ln w="38100" cap="flat" cmpd="sng" algn="ctr">
            <a:solidFill>
              <a:sysClr val="windowText" lastClr="000000"/>
            </a:solidFill>
            <a:prstDash val="solid"/>
            <a:miter lim="800000"/>
            <a:headEnd type="triangle"/>
            <a:tailEnd type="triangle"/>
          </a:ln>
          <a:effectLst/>
        </p:spPr>
      </p:cxnSp>
      <p:cxnSp>
        <p:nvCxnSpPr>
          <p:cNvPr id="125" name="Connector: Elbow 124">
            <a:extLst>
              <a:ext uri="{FF2B5EF4-FFF2-40B4-BE49-F238E27FC236}">
                <a16:creationId xmlns:a16="http://schemas.microsoft.com/office/drawing/2014/main" id="{9A5185E2-D175-4F13-BE9B-4EDEA95E01CF}"/>
              </a:ext>
            </a:extLst>
          </p:cNvPr>
          <p:cNvCxnSpPr>
            <a:cxnSpLocks/>
          </p:cNvCxnSpPr>
          <p:nvPr/>
        </p:nvCxnSpPr>
        <p:spPr>
          <a:xfrm rot="16200000" flipH="1">
            <a:off x="2878473" y="2797031"/>
            <a:ext cx="437283" cy="968902"/>
          </a:xfrm>
          <a:prstGeom prst="bentConnector3">
            <a:avLst>
              <a:gd name="adj1" fmla="val -33881"/>
            </a:avLst>
          </a:prstGeom>
          <a:noFill/>
          <a:ln w="38100" cap="flat" cmpd="sng" algn="ctr">
            <a:solidFill>
              <a:sysClr val="windowText" lastClr="000000"/>
            </a:solidFill>
            <a:prstDash val="solid"/>
            <a:miter lim="800000"/>
            <a:tailEnd type="triangle"/>
          </a:ln>
          <a:effectLst/>
        </p:spPr>
      </p:cxnSp>
      <p:pic>
        <p:nvPicPr>
          <p:cNvPr id="126" name="Picture 2" descr="Image for post">
            <a:extLst>
              <a:ext uri="{FF2B5EF4-FFF2-40B4-BE49-F238E27FC236}">
                <a16:creationId xmlns:a16="http://schemas.microsoft.com/office/drawing/2014/main" id="{43F63630-CEC6-435D-87E9-B069E4FA252E}"/>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55415" y="3214915"/>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869D833A-2950-4173-87DC-F6C9D7F66BC3}"/>
              </a:ext>
            </a:extLst>
          </p:cNvPr>
          <p:cNvSpPr txBox="1"/>
          <p:nvPr/>
        </p:nvSpPr>
        <p:spPr>
          <a:xfrm>
            <a:off x="4602165" y="2964369"/>
            <a:ext cx="1181469"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HVAC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29" name="TextBox 128">
            <a:extLst>
              <a:ext uri="{FF2B5EF4-FFF2-40B4-BE49-F238E27FC236}">
                <a16:creationId xmlns:a16="http://schemas.microsoft.com/office/drawing/2014/main" id="{49C4B70F-35B9-47FA-86EF-8A1DCB9EF2B9}"/>
              </a:ext>
            </a:extLst>
          </p:cNvPr>
          <p:cNvSpPr txBox="1"/>
          <p:nvPr/>
        </p:nvSpPr>
        <p:spPr>
          <a:xfrm>
            <a:off x="4614522" y="3986705"/>
            <a:ext cx="1169111"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Security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31" name="TextBox 130">
            <a:extLst>
              <a:ext uri="{FF2B5EF4-FFF2-40B4-BE49-F238E27FC236}">
                <a16:creationId xmlns:a16="http://schemas.microsoft.com/office/drawing/2014/main" id="{0A12B378-19E1-405E-BE09-8F3B51624E03}"/>
              </a:ext>
            </a:extLst>
          </p:cNvPr>
          <p:cNvSpPr txBox="1"/>
          <p:nvPr/>
        </p:nvSpPr>
        <p:spPr>
          <a:xfrm>
            <a:off x="4614521" y="4721155"/>
            <a:ext cx="1161796"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Lighting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50" name="TextBox 149">
            <a:extLst>
              <a:ext uri="{FF2B5EF4-FFF2-40B4-BE49-F238E27FC236}">
                <a16:creationId xmlns:a16="http://schemas.microsoft.com/office/drawing/2014/main" id="{2D59FA20-FA12-4A9D-B0B1-DCD333919D2E}"/>
              </a:ext>
            </a:extLst>
          </p:cNvPr>
          <p:cNvSpPr txBox="1"/>
          <p:nvPr/>
        </p:nvSpPr>
        <p:spPr>
          <a:xfrm>
            <a:off x="197983" y="2742173"/>
            <a:ext cx="952505" cy="276999"/>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IoT Devices</a:t>
            </a:r>
          </a:p>
        </p:txBody>
      </p:sp>
      <p:cxnSp>
        <p:nvCxnSpPr>
          <p:cNvPr id="159" name="Connector: Elbow 158">
            <a:extLst>
              <a:ext uri="{FF2B5EF4-FFF2-40B4-BE49-F238E27FC236}">
                <a16:creationId xmlns:a16="http://schemas.microsoft.com/office/drawing/2014/main" id="{B7176FC5-30EB-44C8-A71C-27E0BD701768}"/>
              </a:ext>
            </a:extLst>
          </p:cNvPr>
          <p:cNvCxnSpPr>
            <a:cxnSpLocks/>
            <a:stCxn id="110" idx="2"/>
          </p:cNvCxnSpPr>
          <p:nvPr/>
        </p:nvCxnSpPr>
        <p:spPr>
          <a:xfrm rot="5400000" flipH="1">
            <a:off x="6340791" y="625422"/>
            <a:ext cx="1593599" cy="9098473"/>
          </a:xfrm>
          <a:prstGeom prst="bentConnector4">
            <a:avLst>
              <a:gd name="adj1" fmla="val -11356"/>
              <a:gd name="adj2" fmla="val 99984"/>
            </a:avLst>
          </a:prstGeom>
          <a:noFill/>
          <a:ln w="38100" cap="flat" cmpd="sng" algn="ctr">
            <a:solidFill>
              <a:sysClr val="windowText" lastClr="000000"/>
            </a:solidFill>
            <a:prstDash val="solid"/>
            <a:miter lim="800000"/>
            <a:tailEnd type="triangle"/>
          </a:ln>
          <a:effectLst/>
        </p:spPr>
      </p:cxnSp>
      <p:cxnSp>
        <p:nvCxnSpPr>
          <p:cNvPr id="3" name="Straight Arrow Connector 2">
            <a:extLst>
              <a:ext uri="{FF2B5EF4-FFF2-40B4-BE49-F238E27FC236}">
                <a16:creationId xmlns:a16="http://schemas.microsoft.com/office/drawing/2014/main" id="{4B978CD8-85A5-4D37-B094-8A4BCC561E3A}"/>
              </a:ext>
            </a:extLst>
          </p:cNvPr>
          <p:cNvCxnSpPr>
            <a:cxnSpLocks/>
          </p:cNvCxnSpPr>
          <p:nvPr/>
        </p:nvCxnSpPr>
        <p:spPr>
          <a:xfrm>
            <a:off x="7599673" y="3691564"/>
            <a:ext cx="271947" cy="0"/>
          </a:xfrm>
          <a:prstGeom prst="straightConnector1">
            <a:avLst/>
          </a:prstGeom>
          <a:noFill/>
          <a:ln w="38100" cap="flat" cmpd="sng" algn="ctr">
            <a:solidFill>
              <a:sysClr val="windowText" lastClr="000000"/>
            </a:solidFill>
            <a:prstDash val="solid"/>
            <a:miter lim="800000"/>
            <a:tailEnd type="triangle"/>
          </a:ln>
          <a:effectLst/>
        </p:spPr>
      </p:cxnSp>
      <p:sp>
        <p:nvSpPr>
          <p:cNvPr id="6" name="TextBox 5">
            <a:extLst>
              <a:ext uri="{FF2B5EF4-FFF2-40B4-BE49-F238E27FC236}">
                <a16:creationId xmlns:a16="http://schemas.microsoft.com/office/drawing/2014/main" id="{2E9555B2-5BF0-424C-ADCE-34D52B7069E1}"/>
              </a:ext>
            </a:extLst>
          </p:cNvPr>
          <p:cNvSpPr txBox="1"/>
          <p:nvPr/>
        </p:nvSpPr>
        <p:spPr>
          <a:xfrm>
            <a:off x="3511620" y="4382079"/>
            <a:ext cx="633507"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Device</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twins</a:t>
            </a:r>
          </a:p>
        </p:txBody>
      </p:sp>
      <p:sp>
        <p:nvSpPr>
          <p:cNvPr id="7" name="Title 6">
            <a:extLst>
              <a:ext uri="{FF2B5EF4-FFF2-40B4-BE49-F238E27FC236}">
                <a16:creationId xmlns:a16="http://schemas.microsoft.com/office/drawing/2014/main" id="{B921ACCE-1FAD-4B9F-AE66-3DD5B4D35B82}"/>
              </a:ext>
            </a:extLst>
          </p:cNvPr>
          <p:cNvSpPr>
            <a:spLocks noGrp="1"/>
          </p:cNvSpPr>
          <p:nvPr>
            <p:ph type="title"/>
          </p:nvPr>
        </p:nvSpPr>
        <p:spPr>
          <a:xfrm>
            <a:off x="316516" y="509699"/>
            <a:ext cx="11020425" cy="492443"/>
          </a:xfrm>
        </p:spPr>
        <p:txBody>
          <a:bodyPr/>
          <a:lstStyle/>
          <a:p>
            <a:r>
              <a:rPr lang="en-AU" sz="3200" dirty="0">
                <a:solidFill>
                  <a:schemeClr val="accent1">
                    <a:lumMod val="50000"/>
                  </a:schemeClr>
                </a:solidFill>
              </a:rPr>
              <a:t>IoT Data: Azure IoT Smart Factory Architecture Scenario</a:t>
            </a:r>
          </a:p>
        </p:txBody>
      </p:sp>
      <p:pic>
        <p:nvPicPr>
          <p:cNvPr id="8" name="Picture 2" descr="Image for post">
            <a:extLst>
              <a:ext uri="{FF2B5EF4-FFF2-40B4-BE49-F238E27FC236}">
                <a16:creationId xmlns:a16="http://schemas.microsoft.com/office/drawing/2014/main" id="{75003F62-5A7D-4C64-88E8-8136217A74FB}"/>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65442" y="4249736"/>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 name="Picture 2" descr="Image for post">
            <a:extLst>
              <a:ext uri="{FF2B5EF4-FFF2-40B4-BE49-F238E27FC236}">
                <a16:creationId xmlns:a16="http://schemas.microsoft.com/office/drawing/2014/main" id="{5DCBFE37-E65C-474F-AF50-3117C2A62F22}"/>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65442" y="4981026"/>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 name="Picture 2" descr="Azure Content Spotlight – Azure Cosmos DB Tips &amp; Tricks ...">
            <a:extLst>
              <a:ext uri="{FF2B5EF4-FFF2-40B4-BE49-F238E27FC236}">
                <a16:creationId xmlns:a16="http://schemas.microsoft.com/office/drawing/2014/main" id="{90D6409F-BEE5-4B9F-B5A6-13048EE59F7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522" t="-3018" r="20104" b="-3003"/>
          <a:stretch/>
        </p:blipFill>
        <p:spPr bwMode="auto">
          <a:xfrm>
            <a:off x="8673341" y="2899690"/>
            <a:ext cx="589272" cy="5432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60" name="Straight Connector 59">
            <a:extLst>
              <a:ext uri="{FF2B5EF4-FFF2-40B4-BE49-F238E27FC236}">
                <a16:creationId xmlns:a16="http://schemas.microsoft.com/office/drawing/2014/main" id="{C3120000-C512-4EDF-A5AE-E4E0EC62EAD5}"/>
              </a:ext>
            </a:extLst>
          </p:cNvPr>
          <p:cNvCxnSpPr>
            <a:cxnSpLocks/>
          </p:cNvCxnSpPr>
          <p:nvPr/>
        </p:nvCxnSpPr>
        <p:spPr>
          <a:xfrm>
            <a:off x="7891371" y="2133447"/>
            <a:ext cx="0" cy="3650307"/>
          </a:xfrm>
          <a:prstGeom prst="line">
            <a:avLst/>
          </a:prstGeom>
          <a:noFill/>
          <a:ln w="38100" cap="flat" cmpd="sng" algn="ctr">
            <a:solidFill>
              <a:sysClr val="windowText" lastClr="000000"/>
            </a:solidFill>
            <a:prstDash val="solid"/>
            <a:miter lim="800000"/>
          </a:ln>
          <a:effectLst/>
        </p:spPr>
      </p:cxnSp>
      <p:cxnSp>
        <p:nvCxnSpPr>
          <p:cNvPr id="61" name="Straight Arrow Connector 60">
            <a:extLst>
              <a:ext uri="{FF2B5EF4-FFF2-40B4-BE49-F238E27FC236}">
                <a16:creationId xmlns:a16="http://schemas.microsoft.com/office/drawing/2014/main" id="{13ACC30C-D716-430D-8ED2-35C7E1D0F4E9}"/>
              </a:ext>
            </a:extLst>
          </p:cNvPr>
          <p:cNvCxnSpPr>
            <a:cxnSpLocks/>
          </p:cNvCxnSpPr>
          <p:nvPr/>
        </p:nvCxnSpPr>
        <p:spPr>
          <a:xfrm>
            <a:off x="7891365" y="5764847"/>
            <a:ext cx="722623" cy="0"/>
          </a:xfrm>
          <a:prstGeom prst="straightConnector1">
            <a:avLst/>
          </a:prstGeom>
          <a:noFill/>
          <a:ln w="38100" cap="flat" cmpd="sng" algn="ctr">
            <a:solidFill>
              <a:sysClr val="windowText" lastClr="000000"/>
            </a:solidFill>
            <a:prstDash val="solid"/>
            <a:miter lim="800000"/>
            <a:tailEnd type="triangle"/>
          </a:ln>
          <a:effectLst/>
        </p:spPr>
      </p:cxnSp>
      <p:pic>
        <p:nvPicPr>
          <p:cNvPr id="62" name="Picture 61">
            <a:extLst>
              <a:ext uri="{FF2B5EF4-FFF2-40B4-BE49-F238E27FC236}">
                <a16:creationId xmlns:a16="http://schemas.microsoft.com/office/drawing/2014/main" id="{D949BF1E-E595-445D-9124-081F6C7F44B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2397" y="1850999"/>
            <a:ext cx="589273" cy="589273"/>
          </a:xfrm>
          <a:prstGeom prst="rect">
            <a:avLst/>
          </a:prstGeom>
          <a:effectLst>
            <a:outerShdw blurRad="50800" dist="38100" dir="2700000" algn="tl" rotWithShape="0">
              <a:prstClr val="black">
                <a:alpha val="40000"/>
              </a:prstClr>
            </a:outerShdw>
          </a:effectLst>
        </p:spPr>
      </p:pic>
      <p:cxnSp>
        <p:nvCxnSpPr>
          <p:cNvPr id="63" name="Straight Arrow Connector 62">
            <a:extLst>
              <a:ext uri="{FF2B5EF4-FFF2-40B4-BE49-F238E27FC236}">
                <a16:creationId xmlns:a16="http://schemas.microsoft.com/office/drawing/2014/main" id="{F0BC7580-5E53-4F2A-A166-4C439CD9C153}"/>
              </a:ext>
            </a:extLst>
          </p:cNvPr>
          <p:cNvCxnSpPr>
            <a:cxnSpLocks/>
          </p:cNvCxnSpPr>
          <p:nvPr/>
        </p:nvCxnSpPr>
        <p:spPr>
          <a:xfrm>
            <a:off x="7891365" y="2153389"/>
            <a:ext cx="660471" cy="0"/>
          </a:xfrm>
          <a:prstGeom prst="straightConnector1">
            <a:avLst/>
          </a:prstGeom>
          <a:noFill/>
          <a:ln w="38100" cap="flat" cmpd="sng" algn="ctr">
            <a:solidFill>
              <a:sysClr val="windowText" lastClr="000000"/>
            </a:solidFill>
            <a:prstDash val="solid"/>
            <a:miter lim="800000"/>
            <a:tailEnd type="triangle"/>
          </a:ln>
          <a:effectLst/>
        </p:spPr>
      </p:cxnSp>
      <p:sp>
        <p:nvSpPr>
          <p:cNvPr id="64" name="TextBox 63">
            <a:extLst>
              <a:ext uri="{FF2B5EF4-FFF2-40B4-BE49-F238E27FC236}">
                <a16:creationId xmlns:a16="http://schemas.microsoft.com/office/drawing/2014/main" id="{1BC489FE-1794-4DBE-8E7D-4751AF14AD9D}"/>
              </a:ext>
            </a:extLst>
          </p:cNvPr>
          <p:cNvSpPr txBox="1"/>
          <p:nvPr/>
        </p:nvSpPr>
        <p:spPr>
          <a:xfrm>
            <a:off x="8521614" y="5182371"/>
            <a:ext cx="948401" cy="276999"/>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Event Hubs</a:t>
            </a:r>
          </a:p>
        </p:txBody>
      </p:sp>
      <p:pic>
        <p:nvPicPr>
          <p:cNvPr id="65" name="Picture 2" descr="Azure Logic Apps (@logicappsio) | Twitter">
            <a:extLst>
              <a:ext uri="{FF2B5EF4-FFF2-40B4-BE49-F238E27FC236}">
                <a16:creationId xmlns:a16="http://schemas.microsoft.com/office/drawing/2014/main" id="{74FA02C2-080A-4F5F-9167-AAD3C5479DCE}"/>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9896" b="89063" l="4688" r="95313">
                        <a14:foregroundMark x1="6250" y1="27083" x2="6250" y2="27083"/>
                        <a14:foregroundMark x1="54167" y1="30208" x2="54167" y2="30208"/>
                        <a14:foregroundMark x1="56771" y1="27083" x2="56771" y2="27083"/>
                        <a14:foregroundMark x1="54167" y1="21354" x2="54167" y2="21354"/>
                        <a14:foregroundMark x1="46354" y1="18750" x2="50000" y2="18750"/>
                        <a14:foregroundMark x1="57292" y1="25000" x2="55208" y2="21354"/>
                        <a14:foregroundMark x1="5729" y1="55208" x2="5729" y2="55208"/>
                        <a14:foregroundMark x1="92188" y1="35417" x2="92188" y2="35417"/>
                        <a14:foregroundMark x1="92188" y1="35417" x2="94271" y2="42188"/>
                        <a14:foregroundMark x1="94792" y1="54688" x2="95313" y2="53125"/>
                      </a14:backgroundRemoval>
                    </a14:imgEffect>
                  </a14:imgLayer>
                </a14:imgProps>
              </a:ext>
              <a:ext uri="{28A0092B-C50C-407E-A947-70E740481C1C}">
                <a14:useLocalDpi xmlns:a14="http://schemas.microsoft.com/office/drawing/2010/main" val="0"/>
              </a:ext>
            </a:extLst>
          </a:blip>
          <a:srcRect/>
          <a:stretch>
            <a:fillRect/>
          </a:stretch>
        </p:blipFill>
        <p:spPr bwMode="auto">
          <a:xfrm>
            <a:off x="10225349" y="5451892"/>
            <a:ext cx="584273" cy="58427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90A5B13C-B039-4C39-9E81-4471C8B44BEC}"/>
              </a:ext>
            </a:extLst>
          </p:cNvPr>
          <p:cNvSpPr txBox="1"/>
          <p:nvPr/>
        </p:nvSpPr>
        <p:spPr>
          <a:xfrm>
            <a:off x="10151142" y="5152126"/>
            <a:ext cx="1099660" cy="2749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400" spc="-224">
                <a:solidFill>
                  <a:srgbClr val="006DD6"/>
                </a:solidFill>
                <a:latin typeface="Segoe UI" panose="020B0502040204020203" pitchFamily="34" charset="0"/>
                <a:cs typeface="Segoe UI" panose="020B0502040204020203" pitchFamily="34" charset="0"/>
              </a:defRPr>
            </a:lvl1pPr>
          </a:lstStyle>
          <a:p>
            <a:pPr hangingPunct="0">
              <a:lnSpc>
                <a:spcPct val="70000"/>
              </a:lnSpc>
            </a:pPr>
            <a:r>
              <a:rPr lang="en-AU" sz="1600" kern="0" spc="0">
                <a:sym typeface="Segoe UI Semibold"/>
              </a:rPr>
              <a:t>Logic Apps</a:t>
            </a:r>
          </a:p>
        </p:txBody>
      </p:sp>
      <p:sp>
        <p:nvSpPr>
          <p:cNvPr id="67" name="TextBox 66">
            <a:extLst>
              <a:ext uri="{FF2B5EF4-FFF2-40B4-BE49-F238E27FC236}">
                <a16:creationId xmlns:a16="http://schemas.microsoft.com/office/drawing/2014/main" id="{75AF3660-7254-421C-9E28-FCE292330EAC}"/>
              </a:ext>
            </a:extLst>
          </p:cNvPr>
          <p:cNvSpPr txBox="1"/>
          <p:nvPr/>
        </p:nvSpPr>
        <p:spPr>
          <a:xfrm>
            <a:off x="8460341" y="1469074"/>
            <a:ext cx="937628" cy="461665"/>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Storage</a:t>
            </a:r>
          </a:p>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Cold path)</a:t>
            </a:r>
          </a:p>
        </p:txBody>
      </p:sp>
      <p:sp>
        <p:nvSpPr>
          <p:cNvPr id="96" name="TextBox 95">
            <a:extLst>
              <a:ext uri="{FF2B5EF4-FFF2-40B4-BE49-F238E27FC236}">
                <a16:creationId xmlns:a16="http://schemas.microsoft.com/office/drawing/2014/main" id="{89BA2074-1E66-47F2-9D5C-BA4CAF748056}"/>
              </a:ext>
            </a:extLst>
          </p:cNvPr>
          <p:cNvSpPr txBox="1"/>
          <p:nvPr/>
        </p:nvSpPr>
        <p:spPr>
          <a:xfrm>
            <a:off x="8461758" y="2480451"/>
            <a:ext cx="1027781" cy="461665"/>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Cosmos DB </a:t>
            </a:r>
          </a:p>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Warm path)</a:t>
            </a:r>
          </a:p>
        </p:txBody>
      </p:sp>
      <p:pic>
        <p:nvPicPr>
          <p:cNvPr id="97" name="Picture 96">
            <a:extLst>
              <a:ext uri="{FF2B5EF4-FFF2-40B4-BE49-F238E27FC236}">
                <a16:creationId xmlns:a16="http://schemas.microsoft.com/office/drawing/2014/main" id="{6561A7E7-E3AF-4AEB-BDF9-BF27EC6BBC8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05184" y="2863025"/>
            <a:ext cx="584273" cy="584273"/>
          </a:xfrm>
          <a:prstGeom prst="rect">
            <a:avLst/>
          </a:prstGeom>
          <a:effectLst>
            <a:outerShdw blurRad="50800" dist="38100" dir="2700000" algn="tl" rotWithShape="0">
              <a:prstClr val="black">
                <a:alpha val="40000"/>
              </a:prstClr>
            </a:outerShdw>
          </a:effectLst>
        </p:spPr>
      </p:pic>
      <p:sp>
        <p:nvSpPr>
          <p:cNvPr id="98" name="TextBox 97">
            <a:extLst>
              <a:ext uri="{FF2B5EF4-FFF2-40B4-BE49-F238E27FC236}">
                <a16:creationId xmlns:a16="http://schemas.microsoft.com/office/drawing/2014/main" id="{1BDE5E09-FCC5-48B8-A527-277BCAEF5B9D}"/>
              </a:ext>
            </a:extLst>
          </p:cNvPr>
          <p:cNvSpPr txBox="1"/>
          <p:nvPr/>
        </p:nvSpPr>
        <p:spPr>
          <a:xfrm>
            <a:off x="10234274" y="2523875"/>
            <a:ext cx="950580" cy="2749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400" spc="-224">
                <a:solidFill>
                  <a:srgbClr val="006DD6"/>
                </a:solidFill>
                <a:latin typeface="Segoe UI" panose="020B0502040204020203" pitchFamily="34" charset="0"/>
                <a:cs typeface="Segoe UI" panose="020B0502040204020203" pitchFamily="34" charset="0"/>
              </a:defRPr>
            </a:lvl1pPr>
          </a:lstStyle>
          <a:p>
            <a:pPr algn="ctr" hangingPunct="0">
              <a:lnSpc>
                <a:spcPct val="70000"/>
              </a:lnSpc>
            </a:pPr>
            <a:r>
              <a:rPr lang="en-AU" sz="1600" kern="0" spc="0">
                <a:sym typeface="Segoe UI Semibold"/>
              </a:rPr>
              <a:t>Power BI </a:t>
            </a:r>
          </a:p>
        </p:txBody>
      </p:sp>
      <p:pic>
        <p:nvPicPr>
          <p:cNvPr id="99" name="Picture 2" descr="Native Integrations and Pre-built Connectors | StreamSets">
            <a:extLst>
              <a:ext uri="{FF2B5EF4-FFF2-40B4-BE49-F238E27FC236}">
                <a16:creationId xmlns:a16="http://schemas.microsoft.com/office/drawing/2014/main" id="{4AFCA83F-7C27-406B-8AD2-E850A0109DFC}"/>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9155" r="92254">
                        <a14:foregroundMark x1="73944" y1="78750" x2="73944" y2="78750"/>
                        <a14:foregroundMark x1="86620" y1="73750" x2="71127" y2="77500"/>
                        <a14:foregroundMark x1="90141" y1="58125" x2="88732" y2="35625"/>
                        <a14:foregroundMark x1="78873" y1="26875" x2="89437" y2="33125"/>
                        <a14:foregroundMark x1="92254" y1="33125" x2="90845" y2="71250"/>
                        <a14:foregroundMark x1="19929" y1="71494" x2="10563" y2="70000"/>
                        <a14:foregroundMark x1="30153" y1="73125" x2="28310" y2="72831"/>
                        <a14:foregroundMark x1="43133" y1="75196" x2="30153" y2="73125"/>
                        <a14:foregroundMark x1="69322" y1="79375" x2="66947" y2="78996"/>
                        <a14:foregroundMark x1="73239" y1="80000" x2="69322" y2="79375"/>
                        <a14:foregroundMark x1="31690" y1="74375" x2="31690" y2="74375"/>
                        <a14:foregroundMark x1="31690" y1="73750" x2="31690" y2="73750"/>
                        <a14:foregroundMark x1="79577" y1="28125" x2="88028" y2="30625"/>
                        <a14:backgroundMark x1="45775" y1="79375" x2="45775" y2="79375"/>
                        <a14:backgroundMark x1="49296" y1="76250" x2="49296" y2="76250"/>
                        <a14:backgroundMark x1="55634" y1="80625" x2="55634" y2="80625"/>
                        <a14:backgroundMark x1="60563" y1="79375" x2="60563" y2="79375"/>
                        <a14:backgroundMark x1="62676" y1="77500" x2="62676" y2="77500"/>
                        <a14:backgroundMark x1="59859" y1="76875" x2="52817" y2="78750"/>
                        <a14:backgroundMark x1="45775" y1="77500" x2="47887" y2="76875"/>
                        <a14:backgroundMark x1="47887" y1="76250" x2="45775" y2="77500"/>
                        <a14:backgroundMark x1="53521" y1="77500" x2="49296" y2="77500"/>
                        <a14:backgroundMark x1="64789" y1="76875" x2="59155" y2="79375"/>
                        <a14:backgroundMark x1="21127" y1="70000" x2="29577" y2="71250"/>
                        <a14:backgroundMark x1="29577" y1="72500" x2="29577" y2="72500"/>
                        <a14:backgroundMark x1="21127" y1="70000" x2="21127" y2="70000"/>
                        <a14:backgroundMark x1="27465" y1="73125" x2="27465" y2="73125"/>
                        <a14:backgroundMark x1="30282" y1="72500" x2="30282" y2="72500"/>
                      </a14:backgroundRemoval>
                    </a14:imgEffect>
                  </a14:imgLayer>
                </a14:imgProps>
              </a:ext>
              <a:ext uri="{28A0092B-C50C-407E-A947-70E740481C1C}">
                <a14:useLocalDpi xmlns:a14="http://schemas.microsoft.com/office/drawing/2010/main" val="0"/>
              </a:ext>
            </a:extLst>
          </a:blip>
          <a:srcRect/>
          <a:stretch>
            <a:fillRect/>
          </a:stretch>
        </p:blipFill>
        <p:spPr bwMode="auto">
          <a:xfrm>
            <a:off x="8673341" y="3719095"/>
            <a:ext cx="589273" cy="6658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B215B34C-5EE3-4999-894B-7F060AEEABD6}"/>
              </a:ext>
            </a:extLst>
          </p:cNvPr>
          <p:cNvSpPr txBox="1"/>
          <p:nvPr/>
        </p:nvSpPr>
        <p:spPr>
          <a:xfrm>
            <a:off x="8395273" y="3457915"/>
            <a:ext cx="1160750" cy="276999"/>
          </a:xfrm>
          <a:prstGeom prst="rect">
            <a:avLst/>
          </a:prstGeom>
          <a:noFill/>
        </p:spPr>
        <p:txBody>
          <a:bodyPr wrap="squar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Azure Synapse</a:t>
            </a:r>
          </a:p>
        </p:txBody>
      </p:sp>
      <p:cxnSp>
        <p:nvCxnSpPr>
          <p:cNvPr id="101" name="Straight Arrow Connector 100">
            <a:extLst>
              <a:ext uri="{FF2B5EF4-FFF2-40B4-BE49-F238E27FC236}">
                <a16:creationId xmlns:a16="http://schemas.microsoft.com/office/drawing/2014/main" id="{984BE72E-B5A1-4952-985A-4F623ACE1FC9}"/>
              </a:ext>
            </a:extLst>
          </p:cNvPr>
          <p:cNvCxnSpPr>
            <a:cxnSpLocks/>
          </p:cNvCxnSpPr>
          <p:nvPr/>
        </p:nvCxnSpPr>
        <p:spPr>
          <a:xfrm>
            <a:off x="7891365" y="4071646"/>
            <a:ext cx="722623" cy="0"/>
          </a:xfrm>
          <a:prstGeom prst="straightConnector1">
            <a:avLst/>
          </a:prstGeom>
          <a:noFill/>
          <a:ln w="38100" cap="flat" cmpd="sng" algn="ctr">
            <a:solidFill>
              <a:sysClr val="windowText" lastClr="000000"/>
            </a:solidFill>
            <a:prstDash val="solid"/>
            <a:miter lim="800000"/>
            <a:tailEnd type="triangle"/>
          </a:ln>
          <a:effectLst/>
        </p:spPr>
      </p:cxnSp>
      <p:cxnSp>
        <p:nvCxnSpPr>
          <p:cNvPr id="102" name="Straight Arrow Connector 101">
            <a:extLst>
              <a:ext uri="{FF2B5EF4-FFF2-40B4-BE49-F238E27FC236}">
                <a16:creationId xmlns:a16="http://schemas.microsoft.com/office/drawing/2014/main" id="{68652BCE-B9C4-42E1-B19F-17EFA726322B}"/>
              </a:ext>
            </a:extLst>
          </p:cNvPr>
          <p:cNvCxnSpPr>
            <a:cxnSpLocks/>
          </p:cNvCxnSpPr>
          <p:nvPr/>
        </p:nvCxnSpPr>
        <p:spPr>
          <a:xfrm>
            <a:off x="7891365" y="3143616"/>
            <a:ext cx="722623" cy="0"/>
          </a:xfrm>
          <a:prstGeom prst="straightConnector1">
            <a:avLst/>
          </a:prstGeom>
          <a:noFill/>
          <a:ln w="38100" cap="flat" cmpd="sng" algn="ctr">
            <a:solidFill>
              <a:sysClr val="windowText" lastClr="000000"/>
            </a:solidFill>
            <a:prstDash val="solid"/>
            <a:miter lim="800000"/>
            <a:tailEnd type="triangle"/>
          </a:ln>
          <a:effectLst/>
        </p:spPr>
      </p:cxnSp>
      <p:pic>
        <p:nvPicPr>
          <p:cNvPr id="105" name="Picture 2" descr="Azure Databricks — Taygan">
            <a:extLst>
              <a:ext uri="{FF2B5EF4-FFF2-40B4-BE49-F238E27FC236}">
                <a16:creationId xmlns:a16="http://schemas.microsoft.com/office/drawing/2014/main" id="{E44E16F8-D21F-4A40-BB59-40ACB9FD74F8}"/>
              </a:ext>
            </a:extLst>
          </p:cNvPr>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ackgroundRemoval t="18000" b="81667" l="18333" r="81000">
                        <a14:foregroundMark x1="21333" y1="39000" x2="76333" y2="38000"/>
                        <a14:foregroundMark x1="76333" y1="38000" x2="21667" y2="36333"/>
                        <a14:foregroundMark x1="18667" y1="35333" x2="19667" y2="41333"/>
                        <a14:foregroundMark x1="79667" y1="35000" x2="79667" y2="42333"/>
                        <a14:foregroundMark x1="49333" y1="21000" x2="50667" y2="20667"/>
                        <a14:foregroundMark x1="49667" y1="18333" x2="49667" y2="18333"/>
                        <a14:foregroundMark x1="81000" y1="62000" x2="81000" y2="62000"/>
                        <a14:foregroundMark x1="81333" y1="37667" x2="81333" y2="37667"/>
                        <a14:foregroundMark x1="51667" y1="79000" x2="51667" y2="79000"/>
                        <a14:foregroundMark x1="50000" y1="82000" x2="50000" y2="82000"/>
                        <a14:foregroundMark x1="18333" y1="58333" x2="18333" y2="58333"/>
                      </a14:backgroundRemoval>
                    </a14:imgEffect>
                  </a14:imgLayer>
                </a14:imgProps>
              </a:ext>
              <a:ext uri="{28A0092B-C50C-407E-A947-70E740481C1C}">
                <a14:useLocalDpi xmlns:a14="http://schemas.microsoft.com/office/drawing/2010/main" val="0"/>
              </a:ext>
            </a:extLst>
          </a:blip>
          <a:srcRect l="16704" t="16421" r="16157" b="15904"/>
          <a:stretch/>
        </p:blipFill>
        <p:spPr bwMode="auto">
          <a:xfrm>
            <a:off x="8673341" y="4549845"/>
            <a:ext cx="589273" cy="593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7" name="Picture 2" descr="Image for post">
            <a:extLst>
              <a:ext uri="{FF2B5EF4-FFF2-40B4-BE49-F238E27FC236}">
                <a16:creationId xmlns:a16="http://schemas.microsoft.com/office/drawing/2014/main" id="{2550D226-D1D5-4EFF-8B70-A88A2644CE1C}"/>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8713849" y="5472965"/>
            <a:ext cx="549408" cy="55442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08" name="Straight Arrow Connector 107">
            <a:extLst>
              <a:ext uri="{FF2B5EF4-FFF2-40B4-BE49-F238E27FC236}">
                <a16:creationId xmlns:a16="http://schemas.microsoft.com/office/drawing/2014/main" id="{94BDDDA5-796A-4233-A8E5-3499DDAE0B37}"/>
              </a:ext>
            </a:extLst>
          </p:cNvPr>
          <p:cNvCxnSpPr>
            <a:cxnSpLocks/>
          </p:cNvCxnSpPr>
          <p:nvPr/>
        </p:nvCxnSpPr>
        <p:spPr>
          <a:xfrm>
            <a:off x="9631043" y="3128350"/>
            <a:ext cx="457523" cy="0"/>
          </a:xfrm>
          <a:prstGeom prst="straightConnector1">
            <a:avLst/>
          </a:prstGeom>
          <a:noFill/>
          <a:ln w="38100" cap="flat" cmpd="sng" algn="ctr">
            <a:solidFill>
              <a:sysClr val="windowText" lastClr="000000"/>
            </a:solidFill>
            <a:prstDash val="solid"/>
            <a:miter lim="800000"/>
            <a:tailEnd type="triangle"/>
          </a:ln>
          <a:effectLst/>
        </p:spPr>
      </p:cxnSp>
      <p:pic>
        <p:nvPicPr>
          <p:cNvPr id="109" name="Picture 108">
            <a:extLst>
              <a:ext uri="{FF2B5EF4-FFF2-40B4-BE49-F238E27FC236}">
                <a16:creationId xmlns:a16="http://schemas.microsoft.com/office/drawing/2014/main" id="{99843535-1F6C-4494-8D1D-360F506EAF5F}"/>
              </a:ext>
            </a:extLst>
          </p:cNvPr>
          <p:cNvPicPr>
            <a:picLocks noChangeAspect="1"/>
          </p:cNvPicPr>
          <p:nvPr/>
        </p:nvPicPr>
        <p:blipFill rotWithShape="1">
          <a:blip r:embed="rId19"/>
          <a:srcRect r="11440" b="16190"/>
          <a:stretch/>
        </p:blipFill>
        <p:spPr>
          <a:xfrm>
            <a:off x="10863838" y="2818518"/>
            <a:ext cx="1097458" cy="697244"/>
          </a:xfrm>
          <a:prstGeom prst="rect">
            <a:avLst/>
          </a:prstGeom>
          <a:effectLst>
            <a:outerShdw blurRad="50800" dist="38100" dir="2700000" algn="tl" rotWithShape="0">
              <a:prstClr val="black">
                <a:alpha val="40000"/>
              </a:prstClr>
            </a:outerShdw>
          </a:effectLst>
        </p:spPr>
      </p:pic>
      <p:pic>
        <p:nvPicPr>
          <p:cNvPr id="110" name="Picture 109">
            <a:extLst>
              <a:ext uri="{FF2B5EF4-FFF2-40B4-BE49-F238E27FC236}">
                <a16:creationId xmlns:a16="http://schemas.microsoft.com/office/drawing/2014/main" id="{072C7DE0-5DDC-41F0-A77F-8116F22E56E7}"/>
              </a:ext>
            </a:extLst>
          </p:cNvPr>
          <p:cNvPicPr>
            <a:picLocks noChangeAspect="1"/>
          </p:cNvPicPr>
          <p:nvPr/>
        </p:nvPicPr>
        <p:blipFill>
          <a:blip r:embed="rId20"/>
          <a:stretch>
            <a:fillRect/>
          </a:stretch>
        </p:blipFill>
        <p:spPr>
          <a:xfrm>
            <a:off x="11392191" y="5500040"/>
            <a:ext cx="589271" cy="471416"/>
          </a:xfrm>
          <a:prstGeom prst="rect">
            <a:avLst/>
          </a:prstGeom>
          <a:effectLst>
            <a:outerShdw blurRad="50800" dist="38100" dir="2700000" algn="tl" rotWithShape="0">
              <a:prstClr val="black">
                <a:alpha val="40000"/>
              </a:prstClr>
            </a:outerShdw>
          </a:effectLst>
        </p:spPr>
      </p:pic>
      <p:cxnSp>
        <p:nvCxnSpPr>
          <p:cNvPr id="115" name="Straight Arrow Connector 114">
            <a:extLst>
              <a:ext uri="{FF2B5EF4-FFF2-40B4-BE49-F238E27FC236}">
                <a16:creationId xmlns:a16="http://schemas.microsoft.com/office/drawing/2014/main" id="{C3A1C944-1C3F-4BC0-9BBC-C59992907496}"/>
              </a:ext>
            </a:extLst>
          </p:cNvPr>
          <p:cNvCxnSpPr>
            <a:cxnSpLocks/>
          </p:cNvCxnSpPr>
          <p:nvPr/>
        </p:nvCxnSpPr>
        <p:spPr>
          <a:xfrm>
            <a:off x="10957663" y="5703105"/>
            <a:ext cx="379278" cy="0"/>
          </a:xfrm>
          <a:prstGeom prst="straightConnector1">
            <a:avLst/>
          </a:prstGeom>
          <a:noFill/>
          <a:ln w="38100" cap="flat" cmpd="sng" algn="ctr">
            <a:solidFill>
              <a:sysClr val="windowText" lastClr="000000"/>
            </a:solidFill>
            <a:prstDash val="solid"/>
            <a:miter lim="800000"/>
            <a:tailEnd type="triangle"/>
          </a:ln>
          <a:effectLst/>
        </p:spPr>
      </p:cxnSp>
      <p:sp>
        <p:nvSpPr>
          <p:cNvPr id="19" name="TextBox 18">
            <a:extLst>
              <a:ext uri="{FF2B5EF4-FFF2-40B4-BE49-F238E27FC236}">
                <a16:creationId xmlns:a16="http://schemas.microsoft.com/office/drawing/2014/main" id="{E569FA18-51C1-468D-A87C-F085A084832E}"/>
              </a:ext>
            </a:extLst>
          </p:cNvPr>
          <p:cNvSpPr txBox="1"/>
          <p:nvPr/>
        </p:nvSpPr>
        <p:spPr>
          <a:xfrm>
            <a:off x="8395273" y="4314133"/>
            <a:ext cx="1160750" cy="276999"/>
          </a:xfrm>
          <a:prstGeom prst="rect">
            <a:avLst/>
          </a:prstGeom>
          <a:noFill/>
        </p:spPr>
        <p:txBody>
          <a:bodyPr wrap="squar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Databricks</a:t>
            </a:r>
          </a:p>
        </p:txBody>
      </p:sp>
      <p:sp>
        <p:nvSpPr>
          <p:cNvPr id="20" name="TextBox 19">
            <a:extLst>
              <a:ext uri="{FF2B5EF4-FFF2-40B4-BE49-F238E27FC236}">
                <a16:creationId xmlns:a16="http://schemas.microsoft.com/office/drawing/2014/main" id="{EA3060A7-F977-45CE-A8AE-4351F879A140}"/>
              </a:ext>
            </a:extLst>
          </p:cNvPr>
          <p:cNvSpPr txBox="1"/>
          <p:nvPr/>
        </p:nvSpPr>
        <p:spPr>
          <a:xfrm>
            <a:off x="1816307" y="2546980"/>
            <a:ext cx="102657" cy="2964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825500" hangingPunct="0">
              <a:lnSpc>
                <a:spcPct val="70000"/>
              </a:lnSpc>
            </a:pPr>
            <a:endParaRPr lang="en-AU" kern="0">
              <a:solidFill>
                <a:srgbClr val="006DD6"/>
              </a:solidFill>
              <a:latin typeface="Segoe UI" panose="020B0502040204020203" pitchFamily="34" charset="0"/>
              <a:cs typeface="Segoe UI" panose="020B0502040204020203" pitchFamily="34" charset="0"/>
              <a:sym typeface="Segoe UI Semibold"/>
            </a:endParaRPr>
          </a:p>
        </p:txBody>
      </p:sp>
      <p:cxnSp>
        <p:nvCxnSpPr>
          <p:cNvPr id="137" name="Straight Arrow Connector 136">
            <a:extLst>
              <a:ext uri="{FF2B5EF4-FFF2-40B4-BE49-F238E27FC236}">
                <a16:creationId xmlns:a16="http://schemas.microsoft.com/office/drawing/2014/main" id="{DF5AB870-1429-4E17-965C-08F869A07243}"/>
              </a:ext>
            </a:extLst>
          </p:cNvPr>
          <p:cNvCxnSpPr>
            <a:cxnSpLocks/>
          </p:cNvCxnSpPr>
          <p:nvPr/>
        </p:nvCxnSpPr>
        <p:spPr>
          <a:xfrm>
            <a:off x="7891365" y="4824834"/>
            <a:ext cx="722623" cy="0"/>
          </a:xfrm>
          <a:prstGeom prst="straightConnector1">
            <a:avLst/>
          </a:prstGeom>
          <a:noFill/>
          <a:ln w="38100" cap="flat" cmpd="sng" algn="ctr">
            <a:solidFill>
              <a:sysClr val="windowText" lastClr="000000"/>
            </a:solidFill>
            <a:prstDash val="solid"/>
            <a:miter lim="800000"/>
            <a:tailEnd type="triangle"/>
          </a:ln>
          <a:effectLst/>
        </p:spPr>
      </p:cxnSp>
      <p:cxnSp>
        <p:nvCxnSpPr>
          <p:cNvPr id="138" name="Straight Arrow Connector 137">
            <a:extLst>
              <a:ext uri="{FF2B5EF4-FFF2-40B4-BE49-F238E27FC236}">
                <a16:creationId xmlns:a16="http://schemas.microsoft.com/office/drawing/2014/main" id="{F7C48EC3-05C0-4A3B-A580-35C0D0B5C3A8}"/>
              </a:ext>
            </a:extLst>
          </p:cNvPr>
          <p:cNvCxnSpPr>
            <a:cxnSpLocks/>
          </p:cNvCxnSpPr>
          <p:nvPr/>
        </p:nvCxnSpPr>
        <p:spPr>
          <a:xfrm>
            <a:off x="9631043" y="5722155"/>
            <a:ext cx="457523" cy="0"/>
          </a:xfrm>
          <a:prstGeom prst="straightConnector1">
            <a:avLst/>
          </a:prstGeom>
          <a:noFill/>
          <a:ln w="38100" cap="flat" cmpd="sng" algn="ctr">
            <a:solidFill>
              <a:sysClr val="windowText" lastClr="000000"/>
            </a:solidFill>
            <a:prstDash val="solid"/>
            <a:miter lim="800000"/>
            <a:tailEnd type="triangle"/>
          </a:ln>
          <a:effectLst/>
        </p:spPr>
      </p:cxnSp>
      <p:sp>
        <p:nvSpPr>
          <p:cNvPr id="24" name="Rectangle 23">
            <a:extLst>
              <a:ext uri="{FF2B5EF4-FFF2-40B4-BE49-F238E27FC236}">
                <a16:creationId xmlns:a16="http://schemas.microsoft.com/office/drawing/2014/main" id="{FBD26EEC-FA30-4920-9DEA-18CEDD110D4C}"/>
              </a:ext>
            </a:extLst>
          </p:cNvPr>
          <p:cNvSpPr/>
          <p:nvPr/>
        </p:nvSpPr>
        <p:spPr>
          <a:xfrm>
            <a:off x="1816307" y="1933473"/>
            <a:ext cx="1996749"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914126">
              <a:defRPr/>
            </a:pPr>
            <a:r>
              <a:rPr lang="en-AU" kern="0">
                <a:solidFill>
                  <a:srgbClr val="243A5E">
                    <a:lumMod val="50000"/>
                  </a:srgbClr>
                </a:solidFill>
                <a:latin typeface="Segoe UI" panose="020B0502040204020203" pitchFamily="34" charset="0"/>
                <a:cs typeface="Segoe UI" panose="020B0502040204020203" pitchFamily="34" charset="0"/>
                <a:sym typeface="Segoe UI Semibold"/>
              </a:rPr>
              <a:t>Cloud gateway</a:t>
            </a:r>
          </a:p>
        </p:txBody>
      </p:sp>
      <p:grpSp>
        <p:nvGrpSpPr>
          <p:cNvPr id="30" name="Group 29">
            <a:extLst>
              <a:ext uri="{FF2B5EF4-FFF2-40B4-BE49-F238E27FC236}">
                <a16:creationId xmlns:a16="http://schemas.microsoft.com/office/drawing/2014/main" id="{39BD896F-28ED-4A3E-94AD-1467E18DC163}"/>
              </a:ext>
            </a:extLst>
          </p:cNvPr>
          <p:cNvGrpSpPr/>
          <p:nvPr/>
        </p:nvGrpSpPr>
        <p:grpSpPr>
          <a:xfrm>
            <a:off x="5955885" y="1720081"/>
            <a:ext cx="1629499" cy="3920629"/>
            <a:chOff x="5954296" y="1720080"/>
            <a:chExt cx="1629499" cy="3920629"/>
          </a:xfrm>
        </p:grpSpPr>
        <p:cxnSp>
          <p:nvCxnSpPr>
            <p:cNvPr id="124" name="Straight Arrow Connector 123">
              <a:extLst>
                <a:ext uri="{FF2B5EF4-FFF2-40B4-BE49-F238E27FC236}">
                  <a16:creationId xmlns:a16="http://schemas.microsoft.com/office/drawing/2014/main" id="{F5FF9946-EF73-4EE5-9255-26BA438D32FF}"/>
                </a:ext>
              </a:extLst>
            </p:cNvPr>
            <p:cNvCxnSpPr>
              <a:cxnSpLocks/>
            </p:cNvCxnSpPr>
            <p:nvPr/>
          </p:nvCxnSpPr>
          <p:spPr>
            <a:xfrm>
              <a:off x="5954296" y="3714363"/>
              <a:ext cx="286630" cy="0"/>
            </a:xfrm>
            <a:prstGeom prst="straightConnector1">
              <a:avLst/>
            </a:prstGeom>
            <a:noFill/>
            <a:ln w="38100" cap="flat" cmpd="sng" algn="ctr">
              <a:solidFill>
                <a:sysClr val="windowText" lastClr="000000"/>
              </a:solidFill>
              <a:prstDash val="solid"/>
              <a:miter lim="800000"/>
              <a:tailEnd type="triangle"/>
            </a:ln>
            <a:effectLst/>
          </p:spPr>
        </p:cxnSp>
        <p:grpSp>
          <p:nvGrpSpPr>
            <p:cNvPr id="29" name="Group 28">
              <a:extLst>
                <a:ext uri="{FF2B5EF4-FFF2-40B4-BE49-F238E27FC236}">
                  <a16:creationId xmlns:a16="http://schemas.microsoft.com/office/drawing/2014/main" id="{2A783765-45D7-43C4-8D18-65E355255C17}"/>
                </a:ext>
              </a:extLst>
            </p:cNvPr>
            <p:cNvGrpSpPr/>
            <p:nvPr/>
          </p:nvGrpSpPr>
          <p:grpSpPr>
            <a:xfrm>
              <a:off x="6240926" y="1720080"/>
              <a:ext cx="1342869" cy="3920629"/>
              <a:chOff x="6240926" y="1720080"/>
              <a:chExt cx="1342869" cy="3920629"/>
            </a:xfrm>
          </p:grpSpPr>
          <p:grpSp>
            <p:nvGrpSpPr>
              <p:cNvPr id="26" name="Group 25">
                <a:extLst>
                  <a:ext uri="{FF2B5EF4-FFF2-40B4-BE49-F238E27FC236}">
                    <a16:creationId xmlns:a16="http://schemas.microsoft.com/office/drawing/2014/main" id="{814AD02E-408C-4918-8A8A-F7DFAF35C040}"/>
                  </a:ext>
                </a:extLst>
              </p:cNvPr>
              <p:cNvGrpSpPr/>
              <p:nvPr/>
            </p:nvGrpSpPr>
            <p:grpSpPr>
              <a:xfrm>
                <a:off x="6240926" y="1720080"/>
                <a:ext cx="1342869" cy="3920629"/>
                <a:chOff x="6207590" y="1720080"/>
                <a:chExt cx="1342869" cy="3920629"/>
              </a:xfrm>
            </p:grpSpPr>
            <p:sp>
              <p:nvSpPr>
                <p:cNvPr id="111" name="Rectangle 110">
                  <a:extLst>
                    <a:ext uri="{FF2B5EF4-FFF2-40B4-BE49-F238E27FC236}">
                      <a16:creationId xmlns:a16="http://schemas.microsoft.com/office/drawing/2014/main" id="{44317ACE-0954-46D6-A56B-5FE619BB7521}"/>
                    </a:ext>
                  </a:extLst>
                </p:cNvPr>
                <p:cNvSpPr/>
                <p:nvPr/>
              </p:nvSpPr>
              <p:spPr>
                <a:xfrm>
                  <a:off x="6219275" y="2247855"/>
                  <a:ext cx="1331184"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914126">
                    <a:defRPr/>
                  </a:pPr>
                  <a:endParaRPr lang="en-AU" sz="1600" kern="0">
                    <a:solidFill>
                      <a:srgbClr val="243A5E">
                        <a:lumMod val="50000"/>
                      </a:srgbClr>
                    </a:solidFill>
                    <a:latin typeface="Segoe UI" panose="020B0502040204020203" pitchFamily="34" charset="0"/>
                    <a:cs typeface="Segoe UI" panose="020B0502040204020203" pitchFamily="34" charset="0"/>
                    <a:sym typeface="Segoe UI Semibold"/>
                  </a:endParaRPr>
                </a:p>
              </p:txBody>
            </p:sp>
            <p:pic>
              <p:nvPicPr>
                <p:cNvPr id="121" name="Picture 120">
                  <a:extLst>
                    <a:ext uri="{FF2B5EF4-FFF2-40B4-BE49-F238E27FC236}">
                      <a16:creationId xmlns:a16="http://schemas.microsoft.com/office/drawing/2014/main" id="{A7B8999D-19C8-47E4-B83D-6BF8A5DC024A}"/>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8594" b="84961" l="5078" r="96680">
                              <a14:foregroundMark x1="47266" y1="33984" x2="47266" y2="33984"/>
                              <a14:foregroundMark x1="53320" y1="45703" x2="53320" y2="45703"/>
                              <a14:foregroundMark x1="51758" y1="54492" x2="51758" y2="54492"/>
                              <a14:foregroundMark x1="82422" y1="45703" x2="82422" y2="45703"/>
                              <a14:foregroundMark x1="92188" y1="51367" x2="92188" y2="51367"/>
                              <a14:foregroundMark x1="96680" y1="48828" x2="96680" y2="48828"/>
                              <a14:foregroundMark x1="61328" y1="84961" x2="61328" y2="84961"/>
                              <a14:foregroundMark x1="5078" y1="57422" x2="5078" y2="57422"/>
                            </a14:backgroundRemoval>
                          </a14:imgEffect>
                        </a14:imgLayer>
                      </a14:imgProps>
                    </a:ext>
                  </a:extLst>
                </a:blip>
                <a:srcRect r="11494" b="11494"/>
                <a:stretch/>
              </p:blipFill>
              <p:spPr>
                <a:xfrm>
                  <a:off x="6525340" y="2796881"/>
                  <a:ext cx="567955" cy="567955"/>
                </a:xfrm>
                <a:prstGeom prst="rect">
                  <a:avLst/>
                </a:prstGeom>
                <a:effectLst>
                  <a:outerShdw blurRad="50800" dist="38100" dir="2700000" algn="tl" rotWithShape="0">
                    <a:prstClr val="black">
                      <a:alpha val="40000"/>
                    </a:prstClr>
                  </a:outerShdw>
                </a:effectLst>
              </p:spPr>
            </p:pic>
            <p:sp>
              <p:nvSpPr>
                <p:cNvPr id="58" name="TextBox 57">
                  <a:extLst>
                    <a:ext uri="{FF2B5EF4-FFF2-40B4-BE49-F238E27FC236}">
                      <a16:creationId xmlns:a16="http://schemas.microsoft.com/office/drawing/2014/main" id="{1DD4FD17-D260-4F21-A20A-24FFF2C02427}"/>
                    </a:ext>
                  </a:extLst>
                </p:cNvPr>
                <p:cNvSpPr txBox="1"/>
                <p:nvPr/>
              </p:nvSpPr>
              <p:spPr>
                <a:xfrm>
                  <a:off x="6219275" y="2296517"/>
                  <a:ext cx="13239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Stream Analytics</a:t>
                  </a:r>
                </a:p>
              </p:txBody>
            </p:sp>
            <p:sp>
              <p:nvSpPr>
                <p:cNvPr id="68" name="TextBox 67">
                  <a:extLst>
                    <a:ext uri="{FF2B5EF4-FFF2-40B4-BE49-F238E27FC236}">
                      <a16:creationId xmlns:a16="http://schemas.microsoft.com/office/drawing/2014/main" id="{7EED6483-D0BA-4083-9C8C-FAE3108BDB09}"/>
                    </a:ext>
                  </a:extLst>
                </p:cNvPr>
                <p:cNvSpPr txBox="1"/>
                <p:nvPr/>
              </p:nvSpPr>
              <p:spPr>
                <a:xfrm>
                  <a:off x="6207590" y="3532846"/>
                  <a:ext cx="1323961"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Databricks</a:t>
                  </a:r>
                </a:p>
              </p:txBody>
            </p:sp>
            <p:sp>
              <p:nvSpPr>
                <p:cNvPr id="69" name="TextBox 68">
                  <a:extLst>
                    <a:ext uri="{FF2B5EF4-FFF2-40B4-BE49-F238E27FC236}">
                      <a16:creationId xmlns:a16="http://schemas.microsoft.com/office/drawing/2014/main" id="{299182A3-CB2D-4EA6-B07E-467076C73566}"/>
                    </a:ext>
                  </a:extLst>
                </p:cNvPr>
                <p:cNvSpPr txBox="1"/>
                <p:nvPr/>
              </p:nvSpPr>
              <p:spPr>
                <a:xfrm>
                  <a:off x="6215499" y="4558678"/>
                  <a:ext cx="13239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Azure Functions</a:t>
                  </a:r>
                </a:p>
              </p:txBody>
            </p:sp>
            <p:pic>
              <p:nvPicPr>
                <p:cNvPr id="70" name="Picture 2" descr="Azure Databricks — Taygan">
                  <a:extLst>
                    <a:ext uri="{FF2B5EF4-FFF2-40B4-BE49-F238E27FC236}">
                      <a16:creationId xmlns:a16="http://schemas.microsoft.com/office/drawing/2014/main" id="{716E52C9-2112-4FAB-9FED-E19F0613A5A3}"/>
                    </a:ext>
                  </a:extLst>
                </p:cNvPr>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ackgroundRemoval t="18000" b="81667" l="18333" r="81000">
                              <a14:foregroundMark x1="21333" y1="39000" x2="76333" y2="38000"/>
                              <a14:foregroundMark x1="76333" y1="38000" x2="21667" y2="36333"/>
                              <a14:foregroundMark x1="18667" y1="35333" x2="19667" y2="41333"/>
                              <a14:foregroundMark x1="79667" y1="35000" x2="79667" y2="42333"/>
                              <a14:foregroundMark x1="49333" y1="21000" x2="50667" y2="20667"/>
                              <a14:foregroundMark x1="49667" y1="18333" x2="49667" y2="18333"/>
                              <a14:foregroundMark x1="81000" y1="62000" x2="81000" y2="62000"/>
                              <a14:foregroundMark x1="81333" y1="37667" x2="81333" y2="37667"/>
                              <a14:foregroundMark x1="51667" y1="79000" x2="51667" y2="79000"/>
                              <a14:foregroundMark x1="50000" y1="82000" x2="50000" y2="82000"/>
                              <a14:foregroundMark x1="18333" y1="58333" x2="18333" y2="58333"/>
                            </a14:backgroundRemoval>
                          </a14:imgEffect>
                        </a14:imgLayer>
                      </a14:imgProps>
                    </a:ext>
                    <a:ext uri="{28A0092B-C50C-407E-A947-70E740481C1C}">
                      <a14:useLocalDpi xmlns:a14="http://schemas.microsoft.com/office/drawing/2010/main" val="0"/>
                    </a:ext>
                  </a:extLst>
                </a:blip>
                <a:srcRect l="16704" t="16421" r="16157" b="15904"/>
                <a:stretch/>
              </p:blipFill>
              <p:spPr bwMode="auto">
                <a:xfrm>
                  <a:off x="6582124" y="3853354"/>
                  <a:ext cx="589273" cy="593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D42A0440-9504-4DAD-82B2-F7471867F423}"/>
                    </a:ext>
                  </a:extLst>
                </p:cNvPr>
                <p:cNvSpPr txBox="1"/>
                <p:nvPr/>
              </p:nvSpPr>
              <p:spPr>
                <a:xfrm>
                  <a:off x="6252967" y="1720080"/>
                  <a:ext cx="1199046" cy="4903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70000"/>
                    </a:lnSpc>
                  </a:pPr>
                  <a:r>
                    <a:rPr lang="en-AU" kern="0">
                      <a:solidFill>
                        <a:srgbClr val="243A5E">
                          <a:lumMod val="50000"/>
                        </a:srgbClr>
                      </a:solidFill>
                      <a:latin typeface="Segoe UI" panose="020B0502040204020203" pitchFamily="34" charset="0"/>
                      <a:cs typeface="Segoe UI" panose="020B0502040204020203" pitchFamily="34" charset="0"/>
                      <a:sym typeface="Segoe UI Semibold"/>
                    </a:rPr>
                    <a:t>Stream</a:t>
                  </a:r>
                </a:p>
                <a:p>
                  <a:pPr algn="ctr" defTabSz="825500" hangingPunct="0">
                    <a:lnSpc>
                      <a:spcPct val="70000"/>
                    </a:lnSpc>
                  </a:pPr>
                  <a:r>
                    <a:rPr lang="en-AU" kern="0">
                      <a:solidFill>
                        <a:srgbClr val="243A5E">
                          <a:lumMod val="50000"/>
                        </a:srgbClr>
                      </a:solidFill>
                      <a:latin typeface="Segoe UI" panose="020B0502040204020203" pitchFamily="34" charset="0"/>
                      <a:cs typeface="Segoe UI" panose="020B0502040204020203" pitchFamily="34" charset="0"/>
                      <a:sym typeface="Segoe UI Semibold"/>
                    </a:rPr>
                    <a:t>processing</a:t>
                  </a:r>
                </a:p>
              </p:txBody>
            </p:sp>
          </p:grpSp>
          <p:pic>
            <p:nvPicPr>
              <p:cNvPr id="2" name="Picture 2" descr="Things I Learnt in My First Azure Functions Project | by Zhongming Chen |  The ASOS Tech Blog | Medium">
                <a:extLst>
                  <a:ext uri="{FF2B5EF4-FFF2-40B4-BE49-F238E27FC236}">
                    <a16:creationId xmlns:a16="http://schemas.microsoft.com/office/drawing/2014/main" id="{FE395811-5854-4DDE-A7DA-9EC2010FECE0}"/>
                  </a:ext>
                </a:extLst>
              </p:cNvPr>
              <p:cNvPicPr>
                <a:picLocks noChangeAspect="1" noChangeArrowheads="1"/>
              </p:cNvPicPr>
              <p:nvPr/>
            </p:nvPicPr>
            <p:blipFill rotWithShape="1">
              <a:blip r:embed="rId23" cstate="print">
                <a:extLst>
                  <a:ext uri="{BEBA8EAE-BF5A-486C-A8C5-ECC9F3942E4B}">
                    <a14:imgProps xmlns:a14="http://schemas.microsoft.com/office/drawing/2010/main">
                      <a14:imgLayer r:embed="rId24">
                        <a14:imgEffect>
                          <a14:backgroundRemoval t="2534" b="89866" l="18500" r="85800">
                            <a14:foregroundMark x1="30000" y1="31297" x2="30000" y2="31297"/>
                            <a14:foregroundMark x1="18500" y1="49180" x2="18500" y2="49180"/>
                            <a14:foregroundMark x1="80500" y1="41282" x2="80500" y2="41282"/>
                            <a14:foregroundMark x1="80500" y1="41282" x2="80500" y2="41282"/>
                            <a14:foregroundMark x1="85800" y1="51267" x2="85800" y2="51267"/>
                            <a14:foregroundMark x1="62300" y1="7601" x2="62300" y2="7601"/>
                            <a14:foregroundMark x1="63700" y1="2534" x2="63700" y2="2534"/>
                          </a14:backgroundRemoval>
                        </a14:imgEffect>
                      </a14:imgLayer>
                    </a14:imgProps>
                  </a:ext>
                  <a:ext uri="{28A0092B-C50C-407E-A947-70E740481C1C}">
                    <a14:useLocalDpi xmlns:a14="http://schemas.microsoft.com/office/drawing/2010/main" val="0"/>
                  </a:ext>
                </a:extLst>
              </a:blip>
              <a:srcRect l="15143" r="10017"/>
              <a:stretch/>
            </p:blipFill>
            <p:spPr bwMode="auto">
              <a:xfrm>
                <a:off x="6582124" y="5100493"/>
                <a:ext cx="585044" cy="5245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9180156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nodePh="1">
                                  <p:stCondLst>
                                    <p:cond delay="0"/>
                                  </p:stCondLst>
                                  <p:endCondLst>
                                    <p:cond evt="begin" delay="0">
                                      <p:tn val="43"/>
                                    </p:cond>
                                  </p:end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3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9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9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6"/>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65"/>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6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97"/>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98"/>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08"/>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0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1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15"/>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38"/>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4" grpId="0" animBg="1"/>
      <p:bldP spid="112" grpId="0" animBg="1"/>
      <p:bldP spid="113" grpId="0" animBg="1"/>
      <p:bldP spid="114" grpId="0" animBg="1"/>
      <p:bldP spid="127" grpId="0"/>
      <p:bldP spid="129" grpId="0"/>
      <p:bldP spid="131" grpId="0"/>
      <p:bldP spid="150" grpId="0"/>
      <p:bldP spid="6" grpId="0"/>
      <p:bldP spid="64" grpId="0"/>
      <p:bldP spid="66" grpId="0"/>
      <p:bldP spid="67" grpId="0"/>
      <p:bldP spid="96" grpId="0"/>
      <p:bldP spid="98" grpId="0"/>
      <p:bldP spid="100" grpId="0"/>
      <p:bldP spid="19" grpId="0"/>
      <p:bldP spid="20" grpId="0"/>
      <p:bldP spid="24"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de-DE" sz="2800" dirty="0">
                <a:solidFill>
                  <a:schemeClr val="bg2"/>
                </a:solidFill>
              </a:rPr>
              <a:t>Azure IoT Hub Message</a:t>
            </a:r>
          </a:p>
        </p:txBody>
      </p:sp>
      <p:sp>
        <p:nvSpPr>
          <p:cNvPr id="4" name="Rectangle 3">
            <a:extLst>
              <a:ext uri="{FF2B5EF4-FFF2-40B4-BE49-F238E27FC236}">
                <a16:creationId xmlns:a16="http://schemas.microsoft.com/office/drawing/2014/main" id="{E3DA88D3-0EA4-4550-87F0-46B3C0D3BCD9}"/>
              </a:ext>
            </a:extLst>
          </p:cNvPr>
          <p:cNvSpPr/>
          <p:nvPr/>
        </p:nvSpPr>
        <p:spPr>
          <a:xfrm>
            <a:off x="4689693" y="1961516"/>
            <a:ext cx="3216891"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825500" hangingPunct="0"/>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5" name="Rectangle 4">
            <a:extLst>
              <a:ext uri="{FF2B5EF4-FFF2-40B4-BE49-F238E27FC236}">
                <a16:creationId xmlns:a16="http://schemas.microsoft.com/office/drawing/2014/main" id="{F4C31277-753D-4EBC-AD8A-534BA38EE964}"/>
              </a:ext>
            </a:extLst>
          </p:cNvPr>
          <p:cNvSpPr/>
          <p:nvPr/>
        </p:nvSpPr>
        <p:spPr>
          <a:xfrm>
            <a:off x="6321493" y="2126937"/>
            <a:ext cx="1487929" cy="1607316"/>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b"/>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Device twin</a:t>
            </a:r>
          </a:p>
        </p:txBody>
      </p:sp>
      <p:pic>
        <p:nvPicPr>
          <p:cNvPr id="6" name="Picture 5">
            <a:extLst>
              <a:ext uri="{FF2B5EF4-FFF2-40B4-BE49-F238E27FC236}">
                <a16:creationId xmlns:a16="http://schemas.microsoft.com/office/drawing/2014/main" id="{129D72F2-428B-44FD-A8A6-919E3A1694F9}"/>
              </a:ext>
            </a:extLst>
          </p:cNvPr>
          <p:cNvPicPr>
            <a:picLocks noChangeAspect="1"/>
          </p:cNvPicPr>
          <p:nvPr/>
        </p:nvPicPr>
        <p:blipFill>
          <a:blip r:embed="rId3"/>
          <a:stretch>
            <a:fillRect/>
          </a:stretch>
        </p:blipFill>
        <p:spPr>
          <a:xfrm>
            <a:off x="135924" y="2909053"/>
            <a:ext cx="1010655" cy="1546794"/>
          </a:xfrm>
          <a:prstGeom prst="rect">
            <a:avLst/>
          </a:prstGeom>
          <a:effectLst>
            <a:outerShdw blurRad="50800" dist="38100" dir="2700000" algn="tl" rotWithShape="0">
              <a:prstClr val="black">
                <a:alpha val="40000"/>
              </a:prstClr>
            </a:outerShdw>
          </a:effectLst>
        </p:spPr>
      </p:pic>
      <p:cxnSp>
        <p:nvCxnSpPr>
          <p:cNvPr id="7" name="Connector: Elbow 6">
            <a:extLst>
              <a:ext uri="{FF2B5EF4-FFF2-40B4-BE49-F238E27FC236}">
                <a16:creationId xmlns:a16="http://schemas.microsoft.com/office/drawing/2014/main" id="{DD22399D-7B9D-4FC3-B27E-B6DE7444A89B}"/>
              </a:ext>
            </a:extLst>
          </p:cNvPr>
          <p:cNvCxnSpPr>
            <a:cxnSpLocks/>
            <a:stCxn id="12" idx="0"/>
          </p:cNvCxnSpPr>
          <p:nvPr/>
        </p:nvCxnSpPr>
        <p:spPr>
          <a:xfrm rot="16200000" flipH="1">
            <a:off x="6209822" y="2025919"/>
            <a:ext cx="60168" cy="1046982"/>
          </a:xfrm>
          <a:prstGeom prst="bentConnector4">
            <a:avLst>
              <a:gd name="adj1" fmla="val -300783"/>
              <a:gd name="adj2" fmla="val 100030"/>
            </a:avLst>
          </a:prstGeom>
          <a:noFill/>
          <a:ln w="38100" cap="flat" cmpd="sng" algn="ctr">
            <a:solidFill>
              <a:sysClr val="windowText" lastClr="000000"/>
            </a:solidFill>
            <a:prstDash val="solid"/>
            <a:miter lim="800000"/>
            <a:tailEnd type="triangle"/>
          </a:ln>
          <a:effectLst/>
        </p:spPr>
      </p:cxnSp>
      <p:sp>
        <p:nvSpPr>
          <p:cNvPr id="8" name="TextBox 7">
            <a:extLst>
              <a:ext uri="{FF2B5EF4-FFF2-40B4-BE49-F238E27FC236}">
                <a16:creationId xmlns:a16="http://schemas.microsoft.com/office/drawing/2014/main" id="{47E7E174-8D81-4192-80A8-9AD8D6183252}"/>
              </a:ext>
            </a:extLst>
          </p:cNvPr>
          <p:cNvSpPr txBox="1"/>
          <p:nvPr/>
        </p:nvSpPr>
        <p:spPr>
          <a:xfrm>
            <a:off x="135923" y="2468805"/>
            <a:ext cx="1148071" cy="307777"/>
          </a:xfrm>
          <a:prstGeom prst="rect">
            <a:avLst/>
          </a:prstGeom>
          <a:noFill/>
        </p:spPr>
        <p:txBody>
          <a:bodyPr wrap="none" rtlCol="0">
            <a:spAutoFit/>
          </a:bodyPr>
          <a:lstStyle/>
          <a:p>
            <a:pPr defTabSz="914126"/>
            <a:r>
              <a:rPr lang="en-AU" sz="1400" b="1" dirty="0">
                <a:solidFill>
                  <a:schemeClr val="bg1"/>
                </a:solidFill>
                <a:latin typeface="Segoe UI" panose="020B0502040204020203" pitchFamily="34" charset="0"/>
                <a:cs typeface="Segoe UI" panose="020B0502040204020203" pitchFamily="34" charset="0"/>
                <a:sym typeface="Segoe UI Semibold"/>
              </a:rPr>
              <a:t>IoT Devices</a:t>
            </a:r>
          </a:p>
        </p:txBody>
      </p:sp>
      <p:sp>
        <p:nvSpPr>
          <p:cNvPr id="9" name="TextBox 8">
            <a:extLst>
              <a:ext uri="{FF2B5EF4-FFF2-40B4-BE49-F238E27FC236}">
                <a16:creationId xmlns:a16="http://schemas.microsoft.com/office/drawing/2014/main" id="{8AE7349D-0CD2-4988-A87C-DAE5117F2C6B}"/>
              </a:ext>
            </a:extLst>
          </p:cNvPr>
          <p:cNvSpPr txBox="1"/>
          <p:nvPr/>
        </p:nvSpPr>
        <p:spPr>
          <a:xfrm>
            <a:off x="1376053" y="2002795"/>
            <a:ext cx="2804651" cy="3293209"/>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body"</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Temperatur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30.25"</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Humidity"</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54.0"</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Pressur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1021.8"</a:t>
            </a:r>
            <a:endParaRPr lang="en-AU" sz="1600" kern="0" spc="-112" dirty="0">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properties"</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a:t>
            </a:r>
            <a:r>
              <a:rPr lang="en-AU" sz="1600" kern="0" spc="-112" dirty="0" err="1">
                <a:solidFill>
                  <a:srgbClr val="0451A5"/>
                </a:solidFill>
                <a:latin typeface="Consolas" panose="020B0609020204030204" pitchFamily="49" charset="0"/>
                <a:cs typeface="Segoe UI" panose="020B0502040204020203" pitchFamily="34" charset="0"/>
                <a:sym typeface="Segoe UI Semibold"/>
              </a:rPr>
              <a:t>appid</a:t>
            </a:r>
            <a:r>
              <a:rPr lang="en-AU" sz="1600" kern="0" spc="-112" dirty="0">
                <a:solidFill>
                  <a:srgbClr val="0451A5"/>
                </a:solidFill>
                <a:latin typeface="Consolas" panose="020B0609020204030204" pitchFamily="49" charset="0"/>
                <a:cs typeface="Segoe UI" panose="020B0502040204020203" pitchFamily="34" charset="0"/>
                <a:sym typeface="Segoe UI Semibold"/>
              </a:rPr>
              <a:t>"</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a:t>
            </a:r>
            <a:r>
              <a:rPr lang="en-AU" sz="1600" kern="0" spc="-112" dirty="0" err="1">
                <a:solidFill>
                  <a:srgbClr val="A31515"/>
                </a:solidFill>
                <a:latin typeface="Consolas" panose="020B0609020204030204" pitchFamily="49" charset="0"/>
                <a:cs typeface="Segoe UI" panose="020B0502040204020203" pitchFamily="34" charset="0"/>
                <a:sym typeface="Segoe UI Semibold"/>
              </a:rPr>
              <a:t>hvac</a:t>
            </a:r>
            <a:r>
              <a:rPr lang="en-AU" sz="1600" kern="0" spc="-112" dirty="0">
                <a:solidFill>
                  <a:srgbClr val="A31515"/>
                </a:solidFill>
                <a:latin typeface="Consolas" panose="020B0609020204030204" pitchFamily="49" charset="0"/>
                <a:cs typeface="Segoe UI" panose="020B0502040204020203" pitchFamily="34" charset="0"/>
                <a:sym typeface="Segoe UI Semibold"/>
              </a:rPr>
              <a:t>"</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typ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telemetry"</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format"</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json"</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version"</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1"</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a:t>
            </a:r>
          </a:p>
        </p:txBody>
      </p:sp>
      <p:sp>
        <p:nvSpPr>
          <p:cNvPr id="10" name="TextBox 9">
            <a:extLst>
              <a:ext uri="{FF2B5EF4-FFF2-40B4-BE49-F238E27FC236}">
                <a16:creationId xmlns:a16="http://schemas.microsoft.com/office/drawing/2014/main" id="{E600E431-6AEB-4E1F-97FC-F9675735FFB0}"/>
              </a:ext>
            </a:extLst>
          </p:cNvPr>
          <p:cNvSpPr txBox="1"/>
          <p:nvPr/>
        </p:nvSpPr>
        <p:spPr>
          <a:xfrm>
            <a:off x="8368653" y="1582247"/>
            <a:ext cx="3687426" cy="4031873"/>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body"</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Temperatur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30.25"</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Humidity"</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54.0"</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Pressur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1021.8"</a:t>
            </a:r>
            <a:endParaRPr lang="en-AU" sz="1600" kern="0" spc="-112">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properties"</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a:t>
            </a:r>
            <a:r>
              <a:rPr lang="en-AU" sz="1600" kern="0" spc="-112" err="1">
                <a:solidFill>
                  <a:srgbClr val="0451A5"/>
                </a:solidFill>
                <a:latin typeface="Consolas" panose="020B0609020204030204" pitchFamily="49" charset="0"/>
                <a:cs typeface="Segoe UI" panose="020B0502040204020203" pitchFamily="34" charset="0"/>
                <a:sym typeface="Segoe UI Semibold"/>
              </a:rPr>
              <a:t>appid</a:t>
            </a:r>
            <a:r>
              <a:rPr lang="en-AU" sz="1600" kern="0" spc="-112">
                <a:solidFill>
                  <a:srgbClr val="0451A5"/>
                </a:solidFill>
                <a:latin typeface="Consolas" panose="020B0609020204030204" pitchFamily="49" charset="0"/>
                <a:cs typeface="Segoe UI" panose="020B0502040204020203" pitchFamily="34" charset="0"/>
                <a:sym typeface="Segoe UI Semibold"/>
              </a:rPr>
              <a:t>"</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a:t>
            </a:r>
            <a:r>
              <a:rPr lang="en-AU" sz="1600" kern="0" spc="-112" err="1">
                <a:solidFill>
                  <a:srgbClr val="A31515"/>
                </a:solidFill>
                <a:latin typeface="Consolas" panose="020B0609020204030204" pitchFamily="49" charset="0"/>
                <a:cs typeface="Segoe UI" panose="020B0502040204020203" pitchFamily="34" charset="0"/>
                <a:sym typeface="Segoe UI Semibold"/>
              </a:rPr>
              <a:t>hvac</a:t>
            </a:r>
            <a:r>
              <a:rPr lang="en-AU" sz="1600" kern="0" spc="-112">
                <a:solidFill>
                  <a:srgbClr val="A31515"/>
                </a:solidFill>
                <a:latin typeface="Consolas" panose="020B0609020204030204" pitchFamily="49" charset="0"/>
                <a:cs typeface="Segoe UI" panose="020B0502040204020203" pitchFamily="34" charset="0"/>
                <a:sym typeface="Segoe UI Semibold"/>
              </a:rPr>
              <a:t>"</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typ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telemetry"</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format"</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json"</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version"</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1"</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0451A5"/>
                </a:solidFill>
                <a:latin typeface="Consolas" panose="020B0609020204030204" pitchFamily="49" charset="0"/>
                <a:cs typeface="Segoe UI" panose="020B0502040204020203" pitchFamily="34" charset="0"/>
                <a:sym typeface="Segoe UI Semibold"/>
              </a:rPr>
              <a:t>"latitud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33.8767984"</a:t>
            </a:r>
            <a:r>
              <a:rPr lang="en-AU" sz="1600" b="1"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b="1" kern="0" spc="-112">
                <a:solidFill>
                  <a:srgbClr val="0451A5"/>
                </a:solidFill>
                <a:latin typeface="Consolas" panose="020B0609020204030204" pitchFamily="49" charset="0"/>
                <a:cs typeface="Segoe UI" panose="020B0502040204020203" pitchFamily="34" charset="0"/>
                <a:sym typeface="Segoe UI Semibold"/>
              </a:rPr>
              <a:t>    "longitud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151.2083053"</a:t>
            </a:r>
            <a:r>
              <a:rPr lang="en-AU" sz="1600" b="1"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0451A5"/>
                </a:solidFill>
                <a:latin typeface="Consolas" panose="020B0609020204030204" pitchFamily="49" charset="0"/>
                <a:cs typeface="Segoe UI" panose="020B0502040204020203" pitchFamily="34" charset="0"/>
                <a:sym typeface="Segoe UI Semibold"/>
              </a:rPr>
              <a:t>"nam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Sydney Factory"</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400" b="1"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a:t>
            </a:r>
          </a:p>
        </p:txBody>
      </p:sp>
      <p:pic>
        <p:nvPicPr>
          <p:cNvPr id="12" name="Picture 2" descr="Reekoh | Plugins">
            <a:extLst>
              <a:ext uri="{FF2B5EF4-FFF2-40B4-BE49-F238E27FC236}">
                <a16:creationId xmlns:a16="http://schemas.microsoft.com/office/drawing/2014/main" id="{90ED0387-0D7D-4520-983B-DAB48D6B8C86}"/>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5240308" y="2519327"/>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5E556F2-A5DF-443E-AF16-56605DAC184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522" b="93478" l="7500" r="92500">
                        <a14:foregroundMark x1="41250" y1="82609" x2="41250" y2="82609"/>
                        <a14:foregroundMark x1="42500" y1="89130" x2="41250" y2="92391"/>
                        <a14:foregroundMark x1="32000" y1="89130" x2="40000" y2="93478"/>
                        <a14:foregroundMark x1="30000" y1="88043" x2="32000" y2="89130"/>
                        <a14:foregroundMark x1="82500" y1="81522" x2="86250" y2="81522"/>
                        <a14:foregroundMark x1="78750" y1="52174" x2="80000" y2="48913"/>
                        <a14:foregroundMark x1="92500" y1="21739" x2="92500" y2="18478"/>
                        <a14:foregroundMark x1="57500" y1="7609" x2="8750" y2="42391"/>
                        <a14:foregroundMark x1="8750" y1="42391" x2="7500" y2="66304"/>
                        <a14:foregroundMark x1="7500" y1="7609" x2="56250" y2="6522"/>
                        <a14:foregroundMark x1="82082" y1="86957" x2="78750" y2="89130"/>
                        <a14:foregroundMark x1="83749" y1="85870" x2="82082" y2="86957"/>
                        <a14:foregroundMark x1="88750" y1="82609" x2="86142" y2="84310"/>
                        <a14:foregroundMark x1="88751" y1="89130" x2="92500" y2="86957"/>
                        <a14:foregroundMark x1="86876" y1="90217" x2="88751" y2="89130"/>
                        <a14:foregroundMark x1="81250" y1="93478" x2="86876" y2="90217"/>
                        <a14:foregroundMark x1="88750" y1="91304" x2="88750" y2="91304"/>
                        <a14:foregroundMark x1="90000" y1="90217" x2="88750" y2="92391"/>
                        <a14:backgroundMark x1="37500" y1="88043" x2="37500" y2="88043"/>
                        <a14:backgroundMark x1="36250" y1="89130" x2="36250" y2="89130"/>
                        <a14:backgroundMark x1="33750" y1="89130" x2="33750" y2="89130"/>
                        <a14:backgroundMark x1="85000" y1="86957" x2="85000" y2="86957"/>
                        <a14:backgroundMark x1="86250" y1="85870" x2="86250" y2="85870"/>
                        <a14:backgroundMark x1="85000" y1="85870" x2="86250" y2="86957"/>
                        <a14:backgroundMark x1="83750" y1="86957" x2="83750" y2="86957"/>
                        <a14:backgroundMark x1="83750" y1="85870" x2="85000" y2="85870"/>
                        <a14:backgroundMark x1="85000" y1="84783" x2="85000" y2="84783"/>
                        <a14:backgroundMark x1="82500" y1="86957" x2="82500" y2="86957"/>
                        <a14:backgroundMark x1="86250" y1="89130" x2="86250" y2="89130"/>
                        <a14:backgroundMark x1="85000" y1="90217" x2="85000" y2="90217"/>
                      </a14:backgroundRemoval>
                    </a14:imgEffect>
                  </a14:imgLayer>
                </a14:imgProps>
              </a:ext>
            </a:extLst>
          </a:blip>
          <a:stretch>
            <a:fillRect/>
          </a:stretch>
        </p:blipFill>
        <p:spPr>
          <a:xfrm>
            <a:off x="6496898" y="2553096"/>
            <a:ext cx="761908" cy="876194"/>
          </a:xfrm>
          <a:prstGeom prst="rect">
            <a:avLst/>
          </a:prstGeom>
          <a:effectLst>
            <a:outerShdw blurRad="50800" dist="38100" dir="2700000" algn="tl" rotWithShape="0">
              <a:prstClr val="black">
                <a:alpha val="40000"/>
              </a:prstClr>
            </a:outerShdw>
          </a:effectLst>
        </p:spPr>
      </p:pic>
      <p:cxnSp>
        <p:nvCxnSpPr>
          <p:cNvPr id="14" name="Straight Arrow Connector 13">
            <a:extLst>
              <a:ext uri="{FF2B5EF4-FFF2-40B4-BE49-F238E27FC236}">
                <a16:creationId xmlns:a16="http://schemas.microsoft.com/office/drawing/2014/main" id="{D82CBE4D-912D-4942-A18D-643D02F29171}"/>
              </a:ext>
            </a:extLst>
          </p:cNvPr>
          <p:cNvCxnSpPr>
            <a:cxnSpLocks/>
          </p:cNvCxnSpPr>
          <p:nvPr/>
        </p:nvCxnSpPr>
        <p:spPr>
          <a:xfrm>
            <a:off x="4225924" y="3592993"/>
            <a:ext cx="444716" cy="0"/>
          </a:xfrm>
          <a:prstGeom prst="straightConnector1">
            <a:avLst/>
          </a:prstGeom>
          <a:noFill/>
          <a:ln w="38100" cap="flat" cmpd="sng" algn="ctr">
            <a:solidFill>
              <a:schemeClr val="bg1"/>
            </a:solidFill>
            <a:prstDash val="solid"/>
            <a:miter lim="800000"/>
            <a:tailEnd type="triangle"/>
          </a:ln>
          <a:effectLst/>
        </p:spPr>
      </p:cxnSp>
      <p:cxnSp>
        <p:nvCxnSpPr>
          <p:cNvPr id="15" name="Straight Arrow Connector 14">
            <a:extLst>
              <a:ext uri="{FF2B5EF4-FFF2-40B4-BE49-F238E27FC236}">
                <a16:creationId xmlns:a16="http://schemas.microsoft.com/office/drawing/2014/main" id="{0D58AC12-BAFA-40AB-9A05-2F3DFDFE12E7}"/>
              </a:ext>
            </a:extLst>
          </p:cNvPr>
          <p:cNvCxnSpPr>
            <a:cxnSpLocks/>
          </p:cNvCxnSpPr>
          <p:nvPr/>
        </p:nvCxnSpPr>
        <p:spPr>
          <a:xfrm>
            <a:off x="7929748" y="3592993"/>
            <a:ext cx="415741" cy="0"/>
          </a:xfrm>
          <a:prstGeom prst="straightConnector1">
            <a:avLst/>
          </a:prstGeom>
          <a:noFill/>
          <a:ln w="38100" cap="flat" cmpd="sng" algn="ctr">
            <a:solidFill>
              <a:schemeClr val="bg1"/>
            </a:solidFill>
            <a:prstDash val="solid"/>
            <a:miter lim="800000"/>
            <a:tailEnd type="triangle"/>
          </a:ln>
          <a:effectLst/>
        </p:spPr>
      </p:cxnSp>
      <p:grpSp>
        <p:nvGrpSpPr>
          <p:cNvPr id="16" name="Group 15">
            <a:extLst>
              <a:ext uri="{FF2B5EF4-FFF2-40B4-BE49-F238E27FC236}">
                <a16:creationId xmlns:a16="http://schemas.microsoft.com/office/drawing/2014/main" id="{C3500589-C606-4D7A-935E-831782ECC806}"/>
              </a:ext>
            </a:extLst>
          </p:cNvPr>
          <p:cNvGrpSpPr/>
          <p:nvPr/>
        </p:nvGrpSpPr>
        <p:grpSpPr>
          <a:xfrm>
            <a:off x="4751977" y="3855450"/>
            <a:ext cx="3057444" cy="1440554"/>
            <a:chOff x="4750389" y="3750675"/>
            <a:chExt cx="3057444" cy="1440554"/>
          </a:xfrm>
        </p:grpSpPr>
        <p:sp>
          <p:nvSpPr>
            <p:cNvPr id="18" name="Rectangle 17">
              <a:extLst>
                <a:ext uri="{FF2B5EF4-FFF2-40B4-BE49-F238E27FC236}">
                  <a16:creationId xmlns:a16="http://schemas.microsoft.com/office/drawing/2014/main" id="{D7601291-2F5E-4E20-9D58-1EB317E528E9}"/>
                </a:ext>
              </a:extLst>
            </p:cNvPr>
            <p:cNvSpPr/>
            <p:nvPr/>
          </p:nvSpPr>
          <p:spPr>
            <a:xfrm>
              <a:off x="4750389" y="3750675"/>
              <a:ext cx="3057444" cy="1440554"/>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412667" hangingPunct="0"/>
              <a:r>
                <a:rPr lang="en-AU" sz="1200" kern="0">
                  <a:solidFill>
                    <a:srgbClr val="243A5E">
                      <a:lumMod val="50000"/>
                    </a:srgbClr>
                  </a:solidFill>
                  <a:latin typeface="Segoe UI" panose="020B0502040204020203" pitchFamily="34" charset="0"/>
                  <a:cs typeface="Segoe UI" panose="020B0502040204020203" pitchFamily="34" charset="0"/>
                  <a:sym typeface="Segoe UI Semibold"/>
                </a:rPr>
                <a:t>Device twin document</a:t>
              </a:r>
            </a:p>
          </p:txBody>
        </p:sp>
        <p:sp>
          <p:nvSpPr>
            <p:cNvPr id="19" name="TextBox 18">
              <a:extLst>
                <a:ext uri="{FF2B5EF4-FFF2-40B4-BE49-F238E27FC236}">
                  <a16:creationId xmlns:a16="http://schemas.microsoft.com/office/drawing/2014/main" id="{D3B371B0-4AD8-4CBD-B391-FB552ADB60C0}"/>
                </a:ext>
              </a:extLst>
            </p:cNvPr>
            <p:cNvSpPr txBox="1"/>
            <p:nvPr/>
          </p:nvSpPr>
          <p:spPr>
            <a:xfrm>
              <a:off x="5069343" y="3966602"/>
              <a:ext cx="2149884"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412667" hangingPunct="0"/>
              <a:r>
                <a:rPr lang="en-AU" sz="1200" kern="0" spc="-112" dirty="0">
                  <a:solidFill>
                    <a:srgbClr val="A31515"/>
                  </a:solidFill>
                  <a:latin typeface="Consolas" panose="020B0609020204030204" pitchFamily="49" charset="0"/>
                  <a:cs typeface="Segoe UI Semibold"/>
                  <a:sym typeface="Segoe UI Semibold"/>
                </a:rPr>
                <a:t>"tags"</a:t>
              </a:r>
              <a:r>
                <a:rPr lang="en-AU" sz="1200" kern="0" spc="-112" dirty="0">
                  <a:solidFill>
                    <a:srgbClr val="000000"/>
                  </a:solidFill>
                  <a:latin typeface="Consolas" panose="020B0609020204030204" pitchFamily="49" charset="0"/>
                  <a:cs typeface="Segoe UI Semibold"/>
                  <a:sym typeface="Segoe UI Semibold"/>
                </a:rPr>
                <a:t>: {</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a:t>
              </a:r>
              <a:r>
                <a:rPr lang="en-AU" sz="1200" kern="0" spc="-112" dirty="0" err="1">
                  <a:solidFill>
                    <a:srgbClr val="A31515"/>
                  </a:solidFill>
                  <a:latin typeface="Consolas" panose="020B0609020204030204" pitchFamily="49" charset="0"/>
                  <a:cs typeface="Segoe UI Semibold"/>
                  <a:sym typeface="Segoe UI Semibold"/>
                </a:rPr>
                <a:t>deploymentLocation</a:t>
              </a:r>
              <a:r>
                <a:rPr lang="en-AU" sz="1200" kern="0" spc="-112" dirty="0">
                  <a:solidFill>
                    <a:srgbClr val="A31515"/>
                  </a:solidFill>
                  <a:latin typeface="Consolas" panose="020B0609020204030204" pitchFamily="49" charset="0"/>
                  <a:cs typeface="Segoe UI Semibold"/>
                  <a:sym typeface="Segoe UI Semibold"/>
                </a:rPr>
                <a:t>"</a:t>
              </a:r>
              <a:r>
                <a:rPr lang="en-AU" sz="1200" kern="0" spc="-112" dirty="0">
                  <a:solidFill>
                    <a:srgbClr val="000000"/>
                  </a:solidFill>
                  <a:latin typeface="Consolas" panose="020B0609020204030204" pitchFamily="49" charset="0"/>
                  <a:cs typeface="Segoe UI Semibold"/>
                  <a:sym typeface="Segoe UI Semibold"/>
                </a:rPr>
                <a:t>: {</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nam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451A5"/>
                  </a:solidFill>
                  <a:latin typeface="Consolas" panose="020B0609020204030204" pitchFamily="49" charset="0"/>
                  <a:cs typeface="Segoe UI Semibold"/>
                  <a:sym typeface="Segoe UI Semibold"/>
                </a:rPr>
                <a:t>"Sydney Factory"</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longitud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9885A"/>
                  </a:solidFill>
                  <a:latin typeface="Consolas" panose="020B0609020204030204" pitchFamily="49" charset="0"/>
                  <a:cs typeface="Segoe UI Semibold"/>
                  <a:sym typeface="Segoe UI Semibold"/>
                </a:rPr>
                <a:t>151.2152</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latitud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9885A"/>
                  </a:solidFill>
                  <a:latin typeface="Consolas" panose="020B0609020204030204" pitchFamily="49" charset="0"/>
                  <a:cs typeface="Segoe UI Semibold"/>
                  <a:sym typeface="Segoe UI Semibold"/>
                </a:rPr>
                <a:t>-33.85671</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endParaRPr lang="en-AU" sz="1400" kern="0" spc="-224" dirty="0">
                <a:solidFill>
                  <a:srgbClr val="FFFFFF"/>
                </a:solidFill>
                <a:latin typeface="Segoe UI Semibold"/>
                <a:cs typeface="Segoe UI Semibold"/>
                <a:sym typeface="Segoe UI Semibold"/>
              </a:endParaRPr>
            </a:p>
          </p:txBody>
        </p:sp>
      </p:grpSp>
    </p:spTree>
    <p:extLst>
      <p:ext uri="{BB962C8B-B14F-4D97-AF65-F5344CB8AC3E}">
        <p14:creationId xmlns:p14="http://schemas.microsoft.com/office/powerpoint/2010/main" val="1920186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F214C-5F0E-4D13-AD16-73079773BDEF}"/>
              </a:ext>
            </a:extLst>
          </p:cNvPr>
          <p:cNvSpPr>
            <a:spLocks noGrp="1"/>
          </p:cNvSpPr>
          <p:nvPr>
            <p:ph type="title"/>
          </p:nvPr>
        </p:nvSpPr>
        <p:spPr/>
        <p:txBody>
          <a:bodyPr/>
          <a:lstStyle/>
          <a:p>
            <a:r>
              <a:rPr lang="en-US" sz="3600" dirty="0">
                <a:solidFill>
                  <a:schemeClr val="accent1"/>
                </a:solidFill>
                <a:latin typeface="Segoe UI Semibold (Headings)"/>
              </a:rPr>
              <a:t>Device Twin</a:t>
            </a:r>
          </a:p>
        </p:txBody>
      </p:sp>
      <p:sp>
        <p:nvSpPr>
          <p:cNvPr id="5" name="Text Placeholder 4">
            <a:extLst>
              <a:ext uri="{FF2B5EF4-FFF2-40B4-BE49-F238E27FC236}">
                <a16:creationId xmlns:a16="http://schemas.microsoft.com/office/drawing/2014/main" id="{829D9567-1515-4CC3-8A53-008B864304B9}"/>
              </a:ext>
            </a:extLst>
          </p:cNvPr>
          <p:cNvSpPr txBox="1">
            <a:spLocks/>
          </p:cNvSpPr>
          <p:nvPr/>
        </p:nvSpPr>
        <p:spPr>
          <a:xfrm>
            <a:off x="261275" y="867884"/>
            <a:ext cx="5323212" cy="2899229"/>
          </a:xfrm>
          <a:prstGeom prst="rect">
            <a:avLst/>
          </a:prstGeom>
        </p:spPr>
        <p:txBody>
          <a:bodyPr vert="horz" wrap="square" lIns="146284" tIns="91427" rIns="146284" bIns="91427" rtlCol="0">
            <a:spAutoFit/>
          </a:bodyPr>
          <a:lstStyle>
            <a:lvl1pPr marL="0"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3676" kern="1200" spc="0" baseline="0">
                <a:gradFill>
                  <a:gsLst>
                    <a:gs pos="1250">
                      <a:schemeClr val="tx2"/>
                    </a:gs>
                    <a:gs pos="99000">
                      <a:schemeClr val="tx2"/>
                    </a:gs>
                  </a:gsLst>
                  <a:lin ang="5400000" scaled="0"/>
                </a:gradFill>
                <a:latin typeface="+mj-lt"/>
                <a:ea typeface="+mn-ea"/>
                <a:cs typeface="+mn-cs"/>
              </a:defRPr>
            </a:lvl1pPr>
            <a:lvl2pPr marL="0" marR="0" indent="0" algn="l" defTabSz="857219" rtl="0" eaLnBrk="1" fontAlgn="auto" latinLnBrk="0" hangingPunct="1">
              <a:lnSpc>
                <a:spcPct val="90000"/>
              </a:lnSpc>
              <a:spcBef>
                <a:spcPct val="20000"/>
              </a:spcBef>
              <a:spcAft>
                <a:spcPts val="0"/>
              </a:spcAft>
              <a:buClrTx/>
              <a:buSzPct val="90000"/>
              <a:buFontTx/>
              <a:buNone/>
              <a:tabLst/>
              <a:defRPr sz="1838" kern="1200" spc="0" baseline="0">
                <a:gradFill>
                  <a:gsLst>
                    <a:gs pos="1250">
                      <a:schemeClr val="tx1"/>
                    </a:gs>
                    <a:gs pos="100000">
                      <a:schemeClr val="tx1"/>
                    </a:gs>
                  </a:gsLst>
                  <a:lin ang="5400000" scaled="0"/>
                </a:gradFill>
                <a:latin typeface="+mn-lt"/>
                <a:ea typeface="+mn-ea"/>
                <a:cs typeface="+mn-cs"/>
              </a:defRPr>
            </a:lvl2pPr>
            <a:lvl3pPr marL="21009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838" kern="1200" spc="0" baseline="0">
                <a:gradFill>
                  <a:gsLst>
                    <a:gs pos="1250">
                      <a:schemeClr val="tx1"/>
                    </a:gs>
                    <a:gs pos="100000">
                      <a:schemeClr val="tx1"/>
                    </a:gs>
                  </a:gsLst>
                  <a:lin ang="5400000" scaled="0"/>
                </a:gradFill>
                <a:latin typeface="+mn-lt"/>
                <a:ea typeface="+mn-ea"/>
                <a:cs typeface="+mn-cs"/>
              </a:defRPr>
            </a:lvl3pPr>
            <a:lvl4pPr marL="42018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4pPr>
            <a:lvl5pPr marL="630272"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a:lstStyle>
          <a:p>
            <a:pPr defTabSz="857055"/>
            <a:r>
              <a:rPr lang="en-US" sz="1400" b="1" dirty="0">
                <a:gradFill>
                  <a:gsLst>
                    <a:gs pos="1250">
                      <a:srgbClr val="6DC2E9"/>
                    </a:gs>
                    <a:gs pos="99000">
                      <a:srgbClr val="6DC2E9"/>
                    </a:gs>
                  </a:gsLst>
                  <a:lin ang="5400000" scaled="0"/>
                </a:gradFill>
                <a:latin typeface="+mn-lt"/>
              </a:rPr>
              <a:t>Device Twin</a:t>
            </a:r>
          </a:p>
          <a:p>
            <a:pPr marL="457112" lvl="1" indent="-457112" defTabSz="857055">
              <a:buFont typeface="Arial" panose="020B0604020202020204" pitchFamily="34" charset="0"/>
              <a:buChar char="•"/>
            </a:pPr>
            <a:r>
              <a:rPr lang="en-US" sz="1400" dirty="0">
                <a:solidFill>
                  <a:srgbClr val="002050"/>
                </a:solidFill>
                <a:latin typeface="Segoe UI"/>
              </a:rPr>
              <a:t>Bi-directional device&lt;-&gt;hub communication channel</a:t>
            </a:r>
          </a:p>
          <a:p>
            <a:pPr marL="457112" lvl="1" indent="-457112" defTabSz="857055">
              <a:buFont typeface="Arial" panose="020B0604020202020204" pitchFamily="34" charset="0"/>
              <a:buChar char="•"/>
            </a:pPr>
            <a:r>
              <a:rPr lang="en-US" sz="1400" dirty="0">
                <a:solidFill>
                  <a:srgbClr val="002050"/>
                </a:solidFill>
                <a:latin typeface="Segoe UI"/>
              </a:rPr>
              <a:t>Based on per-device (per module) json documents</a:t>
            </a:r>
          </a:p>
          <a:p>
            <a:pPr marL="457112" lvl="1" indent="-457112" defTabSz="857055">
              <a:buFont typeface="Arial" panose="020B0604020202020204" pitchFamily="34" charset="0"/>
              <a:buChar char="•"/>
            </a:pPr>
            <a:r>
              <a:rPr lang="en-US" sz="1400" dirty="0">
                <a:solidFill>
                  <a:srgbClr val="002050"/>
                </a:solidFill>
                <a:latin typeface="Segoe UI"/>
              </a:rPr>
              <a:t>Used to store configuration and control-plane state</a:t>
            </a:r>
          </a:p>
          <a:p>
            <a:pPr marL="457112" lvl="1" indent="-457112" defTabSz="857055">
              <a:buFont typeface="Arial" panose="020B0604020202020204" pitchFamily="34" charset="0"/>
              <a:buChar char="•"/>
            </a:pPr>
            <a:r>
              <a:rPr lang="en-US" sz="1400" dirty="0">
                <a:solidFill>
                  <a:srgbClr val="002050"/>
                </a:solidFill>
                <a:latin typeface="Segoe UI"/>
              </a:rPr>
              <a:t>Supports queries</a:t>
            </a:r>
          </a:p>
          <a:p>
            <a:pPr marL="457112" lvl="1" indent="-457112" defTabSz="857055">
              <a:buFont typeface="Arial" panose="020B0604020202020204" pitchFamily="34" charset="0"/>
              <a:buChar char="•"/>
            </a:pPr>
            <a:endParaRPr lang="en-US" sz="1400" dirty="0">
              <a:gradFill>
                <a:gsLst>
                  <a:gs pos="1250">
                    <a:srgbClr val="FFFFFF"/>
                  </a:gs>
                  <a:gs pos="100000">
                    <a:srgbClr val="FFFFFF"/>
                  </a:gs>
                </a:gsLst>
                <a:lin ang="5400000" scaled="0"/>
              </a:gradFill>
              <a:latin typeface="Segoe UI"/>
            </a:endParaRPr>
          </a:p>
          <a:p>
            <a:pPr defTabSz="857055"/>
            <a:r>
              <a:rPr lang="en-US" sz="1400" b="1" dirty="0">
                <a:gradFill>
                  <a:gsLst>
                    <a:gs pos="1250">
                      <a:srgbClr val="6DC2E9"/>
                    </a:gs>
                    <a:gs pos="99000">
                      <a:srgbClr val="6DC2E9"/>
                    </a:gs>
                  </a:gsLst>
                  <a:lin ang="5400000" scaled="0"/>
                </a:gradFill>
                <a:latin typeface="+mn-lt"/>
              </a:rPr>
              <a:t>Device Twin sections</a:t>
            </a:r>
          </a:p>
          <a:p>
            <a:pPr marL="457112" lvl="1" indent="-457112" defTabSz="857055">
              <a:buFont typeface="Arial" panose="020B0604020202020204" pitchFamily="34" charset="0"/>
              <a:buChar char="•"/>
            </a:pPr>
            <a:r>
              <a:rPr lang="en-US" sz="1400" b="1" dirty="0">
                <a:solidFill>
                  <a:srgbClr val="002050"/>
                </a:solidFill>
                <a:latin typeface="Segoe UI"/>
              </a:rPr>
              <a:t>Tags: </a:t>
            </a:r>
            <a:r>
              <a:rPr lang="en-US" sz="1400" dirty="0">
                <a:solidFill>
                  <a:srgbClr val="002050"/>
                </a:solidFill>
                <a:latin typeface="Segoe UI"/>
              </a:rPr>
              <a:t>set by service and not viewable by device</a:t>
            </a:r>
          </a:p>
          <a:p>
            <a:pPr marL="457112" lvl="1" indent="-457112" defTabSz="857055">
              <a:buFont typeface="Arial" panose="020B0604020202020204" pitchFamily="34" charset="0"/>
              <a:buChar char="•"/>
            </a:pPr>
            <a:r>
              <a:rPr lang="en-US" sz="1400" b="1" dirty="0">
                <a:solidFill>
                  <a:srgbClr val="002050"/>
                </a:solidFill>
                <a:latin typeface="Segoe UI"/>
              </a:rPr>
              <a:t>Desired properties:</a:t>
            </a:r>
            <a:r>
              <a:rPr lang="en-US" sz="1400" dirty="0">
                <a:solidFill>
                  <a:srgbClr val="002050"/>
                </a:solidFill>
                <a:latin typeface="Segoe UI"/>
              </a:rPr>
              <a:t> set by service and delivered</a:t>
            </a:r>
            <a:br>
              <a:rPr lang="en-US" sz="1400" dirty="0">
                <a:solidFill>
                  <a:srgbClr val="002050"/>
                </a:solidFill>
                <a:latin typeface="Segoe UI"/>
              </a:rPr>
            </a:br>
            <a:r>
              <a:rPr lang="en-US" sz="1400" dirty="0">
                <a:solidFill>
                  <a:srgbClr val="002050"/>
                </a:solidFill>
                <a:latin typeface="Segoe UI"/>
              </a:rPr>
              <a:t>to device</a:t>
            </a:r>
          </a:p>
          <a:p>
            <a:pPr marL="457112" lvl="1" indent="-457112" defTabSz="857055">
              <a:buFont typeface="Arial" panose="020B0604020202020204" pitchFamily="34" charset="0"/>
              <a:buChar char="•"/>
            </a:pPr>
            <a:r>
              <a:rPr lang="en-US" sz="1400" b="1" dirty="0">
                <a:solidFill>
                  <a:srgbClr val="002050"/>
                </a:solidFill>
                <a:latin typeface="Segoe UI"/>
              </a:rPr>
              <a:t>Reported properties:</a:t>
            </a:r>
            <a:r>
              <a:rPr lang="en-US" sz="1400" dirty="0">
                <a:solidFill>
                  <a:srgbClr val="002050"/>
                </a:solidFill>
                <a:latin typeface="Segoe UI"/>
              </a:rPr>
              <a:t> set by devices and delivered</a:t>
            </a:r>
            <a:br>
              <a:rPr lang="en-US" sz="1400" dirty="0">
                <a:solidFill>
                  <a:srgbClr val="002050"/>
                </a:solidFill>
                <a:latin typeface="Segoe UI"/>
              </a:rPr>
            </a:br>
            <a:r>
              <a:rPr lang="en-US" sz="1400" dirty="0">
                <a:solidFill>
                  <a:srgbClr val="002050"/>
                </a:solidFill>
                <a:latin typeface="Segoe UI"/>
              </a:rPr>
              <a:t>to service</a:t>
            </a:r>
          </a:p>
        </p:txBody>
      </p:sp>
      <p:pic>
        <p:nvPicPr>
          <p:cNvPr id="68" name="Picture 67">
            <a:extLst>
              <a:ext uri="{FF2B5EF4-FFF2-40B4-BE49-F238E27FC236}">
                <a16:creationId xmlns:a16="http://schemas.microsoft.com/office/drawing/2014/main" id="{69BA8F13-2821-4291-B56F-F6939B44730F}"/>
              </a:ext>
            </a:extLst>
          </p:cNvPr>
          <p:cNvPicPr>
            <a:picLocks noChangeAspect="1"/>
          </p:cNvPicPr>
          <p:nvPr/>
        </p:nvPicPr>
        <p:blipFill>
          <a:blip r:embed="rId3"/>
          <a:stretch>
            <a:fillRect/>
          </a:stretch>
        </p:blipFill>
        <p:spPr>
          <a:xfrm>
            <a:off x="91411" y="3791252"/>
            <a:ext cx="5680149" cy="3008904"/>
          </a:xfrm>
          <a:prstGeom prst="rect">
            <a:avLst/>
          </a:prstGeom>
        </p:spPr>
      </p:pic>
      <p:sp>
        <p:nvSpPr>
          <p:cNvPr id="76" name="TextBox 75">
            <a:extLst>
              <a:ext uri="{FF2B5EF4-FFF2-40B4-BE49-F238E27FC236}">
                <a16:creationId xmlns:a16="http://schemas.microsoft.com/office/drawing/2014/main" id="{5A391BCF-0F23-4414-A725-4A9D130320F6}"/>
              </a:ext>
            </a:extLst>
          </p:cNvPr>
          <p:cNvSpPr txBox="1"/>
          <p:nvPr/>
        </p:nvSpPr>
        <p:spPr>
          <a:xfrm>
            <a:off x="8524667" y="60276"/>
            <a:ext cx="3475944" cy="6771084"/>
          </a:xfrm>
          <a:prstGeom prst="rect">
            <a:avLst/>
          </a:prstGeom>
          <a:solidFill>
            <a:schemeClr val="tx2">
              <a:lumMod val="20000"/>
              <a:lumOff val="80000"/>
            </a:schemeClr>
          </a:solidFill>
          <a:effectLst>
            <a:outerShdw blurRad="50800" dist="38100" algn="l" rotWithShape="0">
              <a:prstClr val="black">
                <a:alpha val="40000"/>
              </a:prstClr>
            </a:outerShdw>
          </a:effectLst>
        </p:spPr>
        <p:txBody>
          <a:bodyPr wrap="square" rtlCol="0">
            <a:spAutoFit/>
          </a:bodyPr>
          <a:lstStyle/>
          <a:p>
            <a:pPr defTabSz="412667" hangingPunct="0"/>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deviceId</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r>
              <a:rPr lang="en-US" sz="1400" kern="0" spc="-112" dirty="0" err="1">
                <a:solidFill>
                  <a:srgbClr val="000000"/>
                </a:solidFill>
                <a:latin typeface="Consolas" panose="020B0609020204030204" pitchFamily="49" charset="0"/>
                <a:cs typeface="Segoe UI" panose="020B0502040204020203" pitchFamily="34" charset="0"/>
              </a:rPr>
              <a:t>devA</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authenticationType</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r>
              <a:rPr lang="en-US" sz="1400" kern="0" spc="-112" dirty="0" err="1">
                <a:solidFill>
                  <a:srgbClr val="000000"/>
                </a:solidFill>
                <a:latin typeface="Consolas" panose="020B0609020204030204" pitchFamily="49" charset="0"/>
                <a:cs typeface="Segoe UI" panose="020B0502040204020203" pitchFamily="34" charset="0"/>
              </a:rPr>
              <a:t>sas</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 "version": </a:t>
            </a:r>
            <a:r>
              <a:rPr lang="en-US" sz="1400" kern="0" spc="-112" dirty="0">
                <a:solidFill>
                  <a:srgbClr val="000000"/>
                </a:solidFill>
                <a:latin typeface="Consolas" panose="020B0609020204030204" pitchFamily="49" charset="0"/>
                <a:cs typeface="Segoe UI" panose="020B0502040204020203" pitchFamily="34" charset="0"/>
              </a:rPr>
              <a:t>2,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AU" sz="1400" kern="0" spc="-112" dirty="0">
                <a:solidFill>
                  <a:srgbClr val="A31515"/>
                </a:solidFill>
                <a:latin typeface="Consolas" panose="020B0609020204030204" pitchFamily="49" charset="0"/>
                <a:cs typeface="Segoe UI Semibold"/>
                <a:sym typeface="Segoe UI Semibold"/>
              </a:rPr>
              <a:t>"tags"</a:t>
            </a:r>
            <a:r>
              <a:rPr lang="en-AU" sz="1400" kern="0" spc="-112" dirty="0">
                <a:solidFill>
                  <a:srgbClr val="000000"/>
                </a:solidFill>
                <a:latin typeface="Consolas" panose="020B0609020204030204" pitchFamily="49" charset="0"/>
                <a:cs typeface="Segoe UI Semibold"/>
                <a:sym typeface="Segoe UI Semibold"/>
              </a:rPr>
              <a:t>: {</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a:t>
            </a:r>
            <a:r>
              <a:rPr lang="en-AU" sz="1400" kern="0" spc="-112" dirty="0" err="1">
                <a:solidFill>
                  <a:srgbClr val="A31515"/>
                </a:solidFill>
                <a:latin typeface="Consolas" panose="020B0609020204030204" pitchFamily="49" charset="0"/>
                <a:cs typeface="Segoe UI Semibold"/>
                <a:sym typeface="Segoe UI Semibold"/>
              </a:rPr>
              <a:t>deploymentLocation</a:t>
            </a:r>
            <a:r>
              <a:rPr lang="en-AU" sz="1400" kern="0" spc="-112" dirty="0">
                <a:solidFill>
                  <a:srgbClr val="A31515"/>
                </a:solidFill>
                <a:latin typeface="Consolas" panose="020B0609020204030204" pitchFamily="49" charset="0"/>
                <a:cs typeface="Segoe UI Semibold"/>
                <a:sym typeface="Segoe UI Semibold"/>
              </a:rPr>
              <a:t>"</a:t>
            </a:r>
            <a:r>
              <a:rPr lang="en-AU" sz="1400" kern="0" spc="-112" dirty="0">
                <a:solidFill>
                  <a:srgbClr val="000000"/>
                </a:solidFill>
                <a:latin typeface="Consolas" panose="020B0609020204030204" pitchFamily="49" charset="0"/>
                <a:cs typeface="Segoe UI Semibold"/>
                <a:sym typeface="Segoe UI Semibold"/>
              </a:rPr>
              <a:t>: {</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name"</a:t>
            </a:r>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chemeClr val="bg1">
                    <a:lumMod val="50000"/>
                  </a:schemeClr>
                </a:solidFill>
                <a:latin typeface="Consolas" panose="020B0609020204030204" pitchFamily="49" charset="0"/>
                <a:cs typeface="Segoe UI Semibold"/>
                <a:sym typeface="Segoe UI Semibold"/>
              </a:rPr>
              <a:t>"Sydney Factory",</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longitude"</a:t>
            </a:r>
            <a:r>
              <a:rPr lang="en-AU" sz="1400" kern="0" spc="-112" dirty="0">
                <a:solidFill>
                  <a:srgbClr val="000000"/>
                </a:solidFill>
                <a:latin typeface="Consolas" panose="020B0609020204030204" pitchFamily="49" charset="0"/>
                <a:cs typeface="Segoe UI Semibold"/>
                <a:sym typeface="Segoe UI Semibold"/>
              </a:rPr>
              <a:t>:</a:t>
            </a:r>
            <a:r>
              <a:rPr lang="en-AU" sz="1400" kern="0" spc="-112" dirty="0">
                <a:solidFill>
                  <a:schemeClr val="bg1">
                    <a:lumMod val="50000"/>
                  </a:schemeClr>
                </a:solidFill>
                <a:latin typeface="Consolas" panose="020B0609020204030204" pitchFamily="49" charset="0"/>
                <a:cs typeface="Segoe UI Semibold"/>
                <a:sym typeface="Segoe UI Semibold"/>
              </a:rPr>
              <a:t> 151.2152,</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latitude"</a:t>
            </a:r>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chemeClr val="bg1">
                    <a:lumMod val="50000"/>
                  </a:schemeClr>
                </a:solidFill>
                <a:latin typeface="Consolas" panose="020B0609020204030204" pitchFamily="49" charset="0"/>
                <a:cs typeface="Segoe UI Semibold"/>
                <a:sym typeface="Segoe UI Semibold"/>
              </a:rPr>
              <a:t>-33.85671,</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endParaRPr lang="en-AU" sz="1600" kern="0" spc="-224" dirty="0">
              <a:solidFill>
                <a:srgbClr val="FFFFFF"/>
              </a:solidFill>
              <a:latin typeface="Segoe UI Semibold"/>
              <a:cs typeface="Segoe UI Semibold"/>
              <a:sym typeface="Segoe UI Semibold"/>
            </a:endParaRP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properties":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desired":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telemetryConfig</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sendFrequency</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m"</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metadata" </a:t>
            </a:r>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version": </a:t>
            </a:r>
            <a:r>
              <a:rPr lang="en-US" sz="1400" kern="0" spc="-112" dirty="0">
                <a:solidFill>
                  <a:srgbClr val="000000"/>
                </a:solidFill>
                <a:latin typeface="Consolas" panose="020B0609020204030204" pitchFamily="49" charset="0"/>
                <a:cs typeface="Segoe UI" panose="020B0502040204020203" pitchFamily="34" charset="0"/>
              </a:rPr>
              <a:t>1</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reported":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telemetryConfig</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sendFrequency</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m",</a:t>
            </a:r>
          </a:p>
          <a:p>
            <a:pPr defTabSz="412667" hangingPunct="0"/>
            <a:r>
              <a:rPr lang="en-US" sz="1400" kern="0" spc="-112" dirty="0">
                <a:solidFill>
                  <a:srgbClr val="A31515"/>
                </a:solidFill>
                <a:latin typeface="Consolas" panose="020B0609020204030204" pitchFamily="49" charset="0"/>
                <a:cs typeface="Segoe UI Semibold"/>
              </a:rPr>
              <a:t>                "status": </a:t>
            </a:r>
            <a:r>
              <a:rPr lang="en-US" sz="1400" kern="0" spc="-112" dirty="0">
                <a:solidFill>
                  <a:srgbClr val="000000"/>
                </a:solidFill>
                <a:latin typeface="Consolas" panose="020B0609020204030204" pitchFamily="49" charset="0"/>
                <a:cs typeface="Segoe UI" panose="020B0502040204020203" pitchFamily="34" charset="0"/>
              </a:rPr>
              <a:t>"success"</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batteryLevel</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5,</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metadata" :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version": </a:t>
            </a:r>
            <a:r>
              <a:rPr lang="en-US" sz="1400" kern="0" spc="-112" dirty="0">
                <a:solidFill>
                  <a:srgbClr val="000000"/>
                </a:solidFill>
                <a:latin typeface="Consolas" panose="020B0609020204030204" pitchFamily="49" charset="0"/>
                <a:cs typeface="Segoe UI" panose="020B0502040204020203" pitchFamily="34" charset="0"/>
              </a:rPr>
              <a:t>4</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a:t>
            </a:r>
            <a:endParaRPr lang="en-AU" sz="1400" kern="0" spc="-112" dirty="0">
              <a:solidFill>
                <a:srgbClr val="000000"/>
              </a:solidFill>
              <a:latin typeface="Consolas" panose="020B0609020204030204" pitchFamily="49" charset="0"/>
              <a:cs typeface="Segoe UI" panose="020B0502040204020203" pitchFamily="34" charset="0"/>
              <a:sym typeface="Segoe UI Semibold"/>
            </a:endParaRPr>
          </a:p>
        </p:txBody>
      </p:sp>
      <p:sp>
        <p:nvSpPr>
          <p:cNvPr id="88" name="Left Brace 87">
            <a:extLst>
              <a:ext uri="{FF2B5EF4-FFF2-40B4-BE49-F238E27FC236}">
                <a16:creationId xmlns:a16="http://schemas.microsoft.com/office/drawing/2014/main" id="{47EBB7B2-1D43-422D-AA37-5C1D271D8C9A}"/>
              </a:ext>
            </a:extLst>
          </p:cNvPr>
          <p:cNvSpPr/>
          <p:nvPr/>
        </p:nvSpPr>
        <p:spPr>
          <a:xfrm>
            <a:off x="8302951" y="3016333"/>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TextBox 88">
            <a:extLst>
              <a:ext uri="{FF2B5EF4-FFF2-40B4-BE49-F238E27FC236}">
                <a16:creationId xmlns:a16="http://schemas.microsoft.com/office/drawing/2014/main" id="{0D88E06C-679B-40A9-AF9D-CB5EF71008B7}"/>
              </a:ext>
            </a:extLst>
          </p:cNvPr>
          <p:cNvSpPr txBox="1"/>
          <p:nvPr/>
        </p:nvSpPr>
        <p:spPr>
          <a:xfrm>
            <a:off x="6376477" y="3445818"/>
            <a:ext cx="1934439"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Desired properties</a:t>
            </a:r>
            <a:endParaRPr lang="en-US" sz="1400" b="1" dirty="0">
              <a:gradFill>
                <a:gsLst>
                  <a:gs pos="2917">
                    <a:schemeClr val="tx1"/>
                  </a:gs>
                  <a:gs pos="30000">
                    <a:schemeClr val="tx1"/>
                  </a:gs>
                </a:gsLst>
                <a:lin ang="5400000" scaled="0"/>
              </a:gradFill>
            </a:endParaRPr>
          </a:p>
        </p:txBody>
      </p:sp>
      <p:sp>
        <p:nvSpPr>
          <p:cNvPr id="91" name="Left Brace 90">
            <a:extLst>
              <a:ext uri="{FF2B5EF4-FFF2-40B4-BE49-F238E27FC236}">
                <a16:creationId xmlns:a16="http://schemas.microsoft.com/office/drawing/2014/main" id="{33578E42-D5FA-4D0E-B2CE-40D756F1B2D1}"/>
              </a:ext>
            </a:extLst>
          </p:cNvPr>
          <p:cNvSpPr/>
          <p:nvPr/>
        </p:nvSpPr>
        <p:spPr>
          <a:xfrm>
            <a:off x="8310916" y="4486894"/>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AB4F7731-4507-4054-82C3-450ED6A5D463}"/>
              </a:ext>
            </a:extLst>
          </p:cNvPr>
          <p:cNvSpPr txBox="1"/>
          <p:nvPr/>
        </p:nvSpPr>
        <p:spPr>
          <a:xfrm>
            <a:off x="6286990" y="4876355"/>
            <a:ext cx="2079415"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Reported properties</a:t>
            </a:r>
            <a:endParaRPr lang="en-US" sz="1400" b="1" dirty="0">
              <a:gradFill>
                <a:gsLst>
                  <a:gs pos="2917">
                    <a:schemeClr val="tx1"/>
                  </a:gs>
                  <a:gs pos="30000">
                    <a:schemeClr val="tx1"/>
                  </a:gs>
                </a:gsLst>
                <a:lin ang="5400000" scaled="0"/>
              </a:gradFill>
            </a:endParaRPr>
          </a:p>
        </p:txBody>
      </p:sp>
      <p:sp>
        <p:nvSpPr>
          <p:cNvPr id="95" name="Left Brace 94">
            <a:extLst>
              <a:ext uri="{FF2B5EF4-FFF2-40B4-BE49-F238E27FC236}">
                <a16:creationId xmlns:a16="http://schemas.microsoft.com/office/drawing/2014/main" id="{72E8D39A-B9EF-4324-A962-BE1672DCB360}"/>
              </a:ext>
            </a:extLst>
          </p:cNvPr>
          <p:cNvSpPr/>
          <p:nvPr/>
        </p:nvSpPr>
        <p:spPr>
          <a:xfrm>
            <a:off x="8287160" y="1273135"/>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TextBox 96">
            <a:extLst>
              <a:ext uri="{FF2B5EF4-FFF2-40B4-BE49-F238E27FC236}">
                <a16:creationId xmlns:a16="http://schemas.microsoft.com/office/drawing/2014/main" id="{56CD572B-D698-4B4F-B7E6-AECCC960F420}"/>
              </a:ext>
            </a:extLst>
          </p:cNvPr>
          <p:cNvSpPr txBox="1"/>
          <p:nvPr/>
        </p:nvSpPr>
        <p:spPr>
          <a:xfrm>
            <a:off x="7441608" y="1694075"/>
            <a:ext cx="745204"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Tags</a:t>
            </a:r>
            <a:endParaRPr lang="en-US" sz="14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993165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F214C-5F0E-4D13-AD16-73079773BDEF}"/>
              </a:ext>
            </a:extLst>
          </p:cNvPr>
          <p:cNvSpPr>
            <a:spLocks noGrp="1"/>
          </p:cNvSpPr>
          <p:nvPr>
            <p:ph type="title"/>
          </p:nvPr>
        </p:nvSpPr>
        <p:spPr/>
        <p:txBody>
          <a:bodyPr/>
          <a:lstStyle/>
          <a:p>
            <a:r>
              <a:rPr lang="en-US" sz="3600" dirty="0">
                <a:solidFill>
                  <a:schemeClr val="accent1"/>
                </a:solidFill>
                <a:latin typeface="Segoe UI Semibold (Headings)"/>
              </a:rPr>
              <a:t>Cloud-to-device communications</a:t>
            </a:r>
          </a:p>
        </p:txBody>
      </p:sp>
      <p:sp>
        <p:nvSpPr>
          <p:cNvPr id="5" name="Text Placeholder 4">
            <a:extLst>
              <a:ext uri="{FF2B5EF4-FFF2-40B4-BE49-F238E27FC236}">
                <a16:creationId xmlns:a16="http://schemas.microsoft.com/office/drawing/2014/main" id="{829D9567-1515-4CC3-8A53-008B864304B9}"/>
              </a:ext>
            </a:extLst>
          </p:cNvPr>
          <p:cNvSpPr txBox="1">
            <a:spLocks/>
          </p:cNvSpPr>
          <p:nvPr/>
        </p:nvSpPr>
        <p:spPr>
          <a:xfrm>
            <a:off x="261274" y="867884"/>
            <a:ext cx="5427007" cy="5093676"/>
          </a:xfrm>
          <a:prstGeom prst="rect">
            <a:avLst/>
          </a:prstGeom>
        </p:spPr>
        <p:txBody>
          <a:bodyPr vert="horz" wrap="square" lIns="146284" tIns="91427" rIns="146284" bIns="91427" rtlCol="0">
            <a:spAutoFit/>
          </a:bodyPr>
          <a:lstStyle>
            <a:lvl1pPr marL="0"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3676" kern="1200" spc="0" baseline="0">
                <a:gradFill>
                  <a:gsLst>
                    <a:gs pos="1250">
                      <a:schemeClr val="tx2"/>
                    </a:gs>
                    <a:gs pos="99000">
                      <a:schemeClr val="tx2"/>
                    </a:gs>
                  </a:gsLst>
                  <a:lin ang="5400000" scaled="0"/>
                </a:gradFill>
                <a:latin typeface="+mj-lt"/>
                <a:ea typeface="+mn-ea"/>
                <a:cs typeface="+mn-cs"/>
              </a:defRPr>
            </a:lvl1pPr>
            <a:lvl2pPr marL="0" marR="0" indent="0" algn="l" defTabSz="857219" rtl="0" eaLnBrk="1" fontAlgn="auto" latinLnBrk="0" hangingPunct="1">
              <a:lnSpc>
                <a:spcPct val="90000"/>
              </a:lnSpc>
              <a:spcBef>
                <a:spcPct val="20000"/>
              </a:spcBef>
              <a:spcAft>
                <a:spcPts val="0"/>
              </a:spcAft>
              <a:buClrTx/>
              <a:buSzPct val="90000"/>
              <a:buFontTx/>
              <a:buNone/>
              <a:tabLst/>
              <a:defRPr sz="1838" kern="1200" spc="0" baseline="0">
                <a:gradFill>
                  <a:gsLst>
                    <a:gs pos="1250">
                      <a:schemeClr val="tx1"/>
                    </a:gs>
                    <a:gs pos="100000">
                      <a:schemeClr val="tx1"/>
                    </a:gs>
                  </a:gsLst>
                  <a:lin ang="5400000" scaled="0"/>
                </a:gradFill>
                <a:latin typeface="+mn-lt"/>
                <a:ea typeface="+mn-ea"/>
                <a:cs typeface="+mn-cs"/>
              </a:defRPr>
            </a:lvl2pPr>
            <a:lvl3pPr marL="21009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838" kern="1200" spc="0" baseline="0">
                <a:gradFill>
                  <a:gsLst>
                    <a:gs pos="1250">
                      <a:schemeClr val="tx1"/>
                    </a:gs>
                    <a:gs pos="100000">
                      <a:schemeClr val="tx1"/>
                    </a:gs>
                  </a:gsLst>
                  <a:lin ang="5400000" scaled="0"/>
                </a:gradFill>
                <a:latin typeface="+mn-lt"/>
                <a:ea typeface="+mn-ea"/>
                <a:cs typeface="+mn-cs"/>
              </a:defRPr>
            </a:lvl3pPr>
            <a:lvl4pPr marL="42018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4pPr>
            <a:lvl5pPr marL="630272"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a:lstStyle>
          <a:p>
            <a:pPr marL="457112" lvl="1" indent="-457112" defTabSz="857055">
              <a:buFont typeface="Arial" panose="020B0604020202020204" pitchFamily="34" charset="0"/>
              <a:buChar char="•"/>
            </a:pPr>
            <a:endParaRPr lang="en-US" sz="1400" dirty="0">
              <a:solidFill>
                <a:srgbClr val="002050"/>
              </a:solidFill>
              <a:latin typeface="Segoe UI"/>
            </a:endParaRPr>
          </a:p>
          <a:p>
            <a:pPr marL="457112" lvl="1" indent="-457112" defTabSz="857055">
              <a:buFont typeface="Arial" panose="020B0604020202020204" pitchFamily="34" charset="0"/>
              <a:buChar char="•"/>
            </a:pPr>
            <a:endParaRPr lang="en-US" sz="1600" dirty="0">
              <a:solidFill>
                <a:srgbClr val="002050"/>
              </a:solidFill>
            </a:endParaRPr>
          </a:p>
          <a:p>
            <a:pPr algn="l"/>
            <a:r>
              <a:rPr lang="en-US" sz="2000" b="0" i="0" dirty="0">
                <a:solidFill>
                  <a:srgbClr val="171717"/>
                </a:solidFill>
                <a:effectLst/>
                <a:latin typeface="+mn-lt"/>
              </a:rPr>
              <a:t>IoT Hub provides three options for device apps to expose functionality to a back-end app:</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3">
                  <a:extLst>
                    <a:ext uri="{A12FA001-AC4F-418D-AE19-62706E023703}">
                      <ahyp:hlinkClr xmlns:ahyp="http://schemas.microsoft.com/office/drawing/2018/hyperlinkcolor" val="tx"/>
                    </a:ext>
                  </a:extLst>
                </a:hlinkClick>
              </a:rPr>
              <a:t>Direct method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communications that require immediate confirmation of the result. </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4">
                  <a:extLst>
                    <a:ext uri="{A12FA001-AC4F-418D-AE19-62706E023703}">
                      <ahyp:hlinkClr xmlns:ahyp="http://schemas.microsoft.com/office/drawing/2018/hyperlinkcolor" val="tx"/>
                    </a:ext>
                  </a:extLst>
                </a:hlinkClick>
              </a:rPr>
              <a:t>Twin's desired propertie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long-running commands intended to put the device into a certain desired state. </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5">
                  <a:extLst>
                    <a:ext uri="{A12FA001-AC4F-418D-AE19-62706E023703}">
                      <ahyp:hlinkClr xmlns:ahyp="http://schemas.microsoft.com/office/drawing/2018/hyperlinkcolor" val="tx"/>
                    </a:ext>
                  </a:extLst>
                </a:hlinkClick>
              </a:rPr>
              <a:t>Cloud-to-device message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one-way notifications to the device app.</a:t>
            </a:r>
          </a:p>
          <a:p>
            <a:pPr marL="457112" lvl="1" indent="-457112" defTabSz="857055">
              <a:buFont typeface="Arial" panose="020B0604020202020204" pitchFamily="34" charset="0"/>
              <a:buChar char="•"/>
            </a:pPr>
            <a:endParaRPr lang="en-US" sz="1400" dirty="0">
              <a:solidFill>
                <a:srgbClr val="002050"/>
              </a:solidFill>
              <a:latin typeface="Segoe UI"/>
            </a:endParaRPr>
          </a:p>
        </p:txBody>
      </p:sp>
      <p:pic>
        <p:nvPicPr>
          <p:cNvPr id="68" name="Picture 67">
            <a:extLst>
              <a:ext uri="{FF2B5EF4-FFF2-40B4-BE49-F238E27FC236}">
                <a16:creationId xmlns:a16="http://schemas.microsoft.com/office/drawing/2014/main" id="{69BA8F13-2821-4291-B56F-F6939B44730F}"/>
              </a:ext>
            </a:extLst>
          </p:cNvPr>
          <p:cNvPicPr>
            <a:picLocks noChangeAspect="1"/>
          </p:cNvPicPr>
          <p:nvPr/>
        </p:nvPicPr>
        <p:blipFill>
          <a:blip r:embed="rId6"/>
          <a:stretch>
            <a:fillRect/>
          </a:stretch>
        </p:blipFill>
        <p:spPr>
          <a:xfrm>
            <a:off x="6096000" y="1767549"/>
            <a:ext cx="5680149" cy="3008904"/>
          </a:xfrm>
          <a:prstGeom prst="rect">
            <a:avLst/>
          </a:prstGeom>
        </p:spPr>
      </p:pic>
    </p:spTree>
    <p:extLst>
      <p:ext uri="{BB962C8B-B14F-4D97-AF65-F5344CB8AC3E}">
        <p14:creationId xmlns:p14="http://schemas.microsoft.com/office/powerpoint/2010/main" val="29068562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Azure IoT Hub Messaging Routing and Partitioning</a:t>
            </a:r>
          </a:p>
        </p:txBody>
      </p:sp>
      <p:sp>
        <p:nvSpPr>
          <p:cNvPr id="4" name="Rectangle 3">
            <a:extLst>
              <a:ext uri="{FF2B5EF4-FFF2-40B4-BE49-F238E27FC236}">
                <a16:creationId xmlns:a16="http://schemas.microsoft.com/office/drawing/2014/main" id="{5FBEEDEE-1AA0-4D4D-A07F-13F0B3611238}"/>
              </a:ext>
            </a:extLst>
          </p:cNvPr>
          <p:cNvSpPr/>
          <p:nvPr/>
        </p:nvSpPr>
        <p:spPr>
          <a:xfrm>
            <a:off x="495878" y="2025555"/>
            <a:ext cx="7538795"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914126">
              <a:defRPr/>
            </a:pPr>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5" name="Rectangle 4">
            <a:extLst>
              <a:ext uri="{FF2B5EF4-FFF2-40B4-BE49-F238E27FC236}">
                <a16:creationId xmlns:a16="http://schemas.microsoft.com/office/drawing/2014/main" id="{CDA94C50-FC33-4969-A3DC-5255C70C4011}"/>
              </a:ext>
            </a:extLst>
          </p:cNvPr>
          <p:cNvSpPr/>
          <p:nvPr/>
        </p:nvSpPr>
        <p:spPr>
          <a:xfrm>
            <a:off x="5995345" y="2157393"/>
            <a:ext cx="1873158"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ctr"/>
          <a:lstStyle/>
          <a:p>
            <a:pPr algn="ctr" defTabSz="914126">
              <a:defRPr/>
            </a:pPr>
            <a:r>
              <a:rPr lang="en-AU" sz="1600">
                <a:solidFill>
                  <a:srgbClr val="243A5E">
                    <a:lumMod val="50000"/>
                  </a:srgbClr>
                </a:solidFill>
                <a:latin typeface="Segoe UI" panose="020B0502040204020203" pitchFamily="34" charset="0"/>
                <a:cs typeface="Segoe UI" panose="020B0502040204020203" pitchFamily="34" charset="0"/>
                <a:sym typeface="Segoe UI Semibold"/>
              </a:rPr>
              <a:t>Rules based m</a:t>
            </a:r>
            <a:r>
              <a:rPr lang="en-AU" sz="1600" err="1">
                <a:solidFill>
                  <a:srgbClr val="243A5E">
                    <a:lumMod val="50000"/>
                  </a:srgbClr>
                </a:solidFill>
                <a:latin typeface="Segoe UI" panose="020B0502040204020203" pitchFamily="34" charset="0"/>
                <a:cs typeface="Segoe UI" panose="020B0502040204020203" pitchFamily="34" charset="0"/>
                <a:sym typeface="Segoe UI Semibold"/>
              </a:rPr>
              <a:t>essage</a:t>
            </a:r>
            <a:r>
              <a:rPr lang="en-AU" sz="1600">
                <a:solidFill>
                  <a:srgbClr val="243A5E">
                    <a:lumMod val="50000"/>
                  </a:srgbClr>
                </a:solidFill>
                <a:latin typeface="Segoe UI" panose="020B0502040204020203" pitchFamily="34" charset="0"/>
                <a:cs typeface="Segoe UI" panose="020B0502040204020203" pitchFamily="34" charset="0"/>
                <a:sym typeface="Segoe UI Semibold"/>
              </a:rPr>
              <a:t> routing</a:t>
            </a:r>
          </a:p>
          <a:p>
            <a:pPr algn="ctr" defTabSz="914126">
              <a:defRPr/>
            </a:pP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a:p>
            <a:pPr algn="ctr" defTabSz="914126">
              <a:defRPr/>
            </a:pP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a:p>
            <a:pPr algn="ctr" defTabSz="914126">
              <a:defRPr/>
            </a:pPr>
            <a:r>
              <a:rPr lang="en-US" sz="1600" err="1">
                <a:solidFill>
                  <a:srgbClr val="243A5E">
                    <a:lumMod val="50000"/>
                  </a:srgbClr>
                </a:solidFill>
                <a:latin typeface="Segoe UI" panose="020B0502040204020203" pitchFamily="34" charset="0"/>
                <a:cs typeface="Segoe UI" panose="020B0502040204020203" pitchFamily="34" charset="0"/>
                <a:sym typeface="Segoe UI Semibold"/>
              </a:rPr>
              <a:t>appid</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 = '</a:t>
            </a:r>
            <a:r>
              <a:rPr lang="en-US" sz="1600" err="1">
                <a:solidFill>
                  <a:srgbClr val="FF0000"/>
                </a:solidFill>
                <a:latin typeface="Segoe UI" panose="020B0502040204020203" pitchFamily="34" charset="0"/>
                <a:cs typeface="Segoe UI" panose="020B0502040204020203" pitchFamily="34" charset="0"/>
                <a:sym typeface="Segoe UI Semibold"/>
              </a:rPr>
              <a:t>hvac</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 </a:t>
            </a:r>
          </a:p>
          <a:p>
            <a:pPr algn="ctr" defTabSz="914126">
              <a:defRPr/>
            </a:pPr>
            <a:r>
              <a:rPr lang="en-US" sz="1600">
                <a:solidFill>
                  <a:srgbClr val="243A5E">
                    <a:lumMod val="50000"/>
                  </a:srgbClr>
                </a:solidFill>
                <a:latin typeface="Segoe UI" panose="020B0502040204020203" pitchFamily="34" charset="0"/>
                <a:cs typeface="Segoe UI" panose="020B0502040204020203" pitchFamily="34" charset="0"/>
                <a:sym typeface="Segoe UI Semibold"/>
              </a:rPr>
              <a:t>and </a:t>
            </a:r>
          </a:p>
          <a:p>
            <a:pPr algn="ctr" defTabSz="914126">
              <a:defRPr/>
            </a:pPr>
            <a:r>
              <a:rPr lang="en-US" sz="1600">
                <a:solidFill>
                  <a:srgbClr val="243A5E">
                    <a:lumMod val="50000"/>
                  </a:srgbClr>
                </a:solidFill>
                <a:latin typeface="Segoe UI" panose="020B0502040204020203" pitchFamily="34" charset="0"/>
                <a:cs typeface="Segoe UI" panose="020B0502040204020203" pitchFamily="34" charset="0"/>
                <a:sym typeface="Segoe UI Semibold"/>
              </a:rPr>
              <a:t>type = '</a:t>
            </a:r>
            <a:r>
              <a:rPr lang="en-US" sz="1600">
                <a:solidFill>
                  <a:srgbClr val="FF0000"/>
                </a:solidFill>
                <a:latin typeface="Segoe UI" panose="020B0502040204020203" pitchFamily="34" charset="0"/>
                <a:cs typeface="Segoe UI" panose="020B0502040204020203" pitchFamily="34" charset="0"/>
                <a:sym typeface="Segoe UI Semibold"/>
              </a:rPr>
              <a:t>telemetry</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a:t>
            </a: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p:txBody>
      </p:sp>
      <p:cxnSp>
        <p:nvCxnSpPr>
          <p:cNvPr id="6" name="Straight Arrow Connector 5">
            <a:extLst>
              <a:ext uri="{FF2B5EF4-FFF2-40B4-BE49-F238E27FC236}">
                <a16:creationId xmlns:a16="http://schemas.microsoft.com/office/drawing/2014/main" id="{344CDEAC-E620-48E0-BBB0-6FBB349A3E77}"/>
              </a:ext>
            </a:extLst>
          </p:cNvPr>
          <p:cNvCxnSpPr>
            <a:cxnSpLocks/>
            <a:stCxn id="5" idx="3"/>
          </p:cNvCxnSpPr>
          <p:nvPr/>
        </p:nvCxnSpPr>
        <p:spPr>
          <a:xfrm flipV="1">
            <a:off x="7868504" y="2708764"/>
            <a:ext cx="1503333" cy="1013218"/>
          </a:xfrm>
          <a:prstGeom prst="straightConnector1">
            <a:avLst/>
          </a:prstGeom>
          <a:noFill/>
          <a:ln w="38100" cap="flat" cmpd="sng" algn="ctr">
            <a:solidFill>
              <a:schemeClr val="bg1"/>
            </a:solidFill>
            <a:prstDash val="solid"/>
            <a:miter lim="800000"/>
            <a:tailEnd type="triangle"/>
          </a:ln>
          <a:effectLst/>
        </p:spPr>
      </p:cxnSp>
      <p:cxnSp>
        <p:nvCxnSpPr>
          <p:cNvPr id="7" name="Straight Arrow Connector 6">
            <a:extLst>
              <a:ext uri="{FF2B5EF4-FFF2-40B4-BE49-F238E27FC236}">
                <a16:creationId xmlns:a16="http://schemas.microsoft.com/office/drawing/2014/main" id="{826F46AB-F183-4DC3-A07C-08A8F9B77B2E}"/>
              </a:ext>
            </a:extLst>
          </p:cNvPr>
          <p:cNvCxnSpPr>
            <a:cxnSpLocks/>
            <a:stCxn id="5" idx="3"/>
          </p:cNvCxnSpPr>
          <p:nvPr/>
        </p:nvCxnSpPr>
        <p:spPr>
          <a:xfrm flipV="1">
            <a:off x="7868503" y="3526388"/>
            <a:ext cx="1474466" cy="195594"/>
          </a:xfrm>
          <a:prstGeom prst="straightConnector1">
            <a:avLst/>
          </a:prstGeom>
          <a:noFill/>
          <a:ln w="38100" cap="flat" cmpd="sng" algn="ctr">
            <a:solidFill>
              <a:schemeClr val="bg1"/>
            </a:solidFill>
            <a:prstDash val="solid"/>
            <a:miter lim="800000"/>
            <a:tailEnd type="triangle"/>
          </a:ln>
          <a:effectLst/>
        </p:spPr>
      </p:cxnSp>
      <p:cxnSp>
        <p:nvCxnSpPr>
          <p:cNvPr id="8" name="Straight Arrow Connector 7">
            <a:extLst>
              <a:ext uri="{FF2B5EF4-FFF2-40B4-BE49-F238E27FC236}">
                <a16:creationId xmlns:a16="http://schemas.microsoft.com/office/drawing/2014/main" id="{A6EABFA8-FD45-4872-9A25-57DDC8F1396E}"/>
              </a:ext>
            </a:extLst>
          </p:cNvPr>
          <p:cNvCxnSpPr>
            <a:cxnSpLocks/>
            <a:stCxn id="5" idx="3"/>
          </p:cNvCxnSpPr>
          <p:nvPr/>
        </p:nvCxnSpPr>
        <p:spPr>
          <a:xfrm>
            <a:off x="7868504" y="3721983"/>
            <a:ext cx="1480897" cy="572763"/>
          </a:xfrm>
          <a:prstGeom prst="straightConnector1">
            <a:avLst/>
          </a:prstGeom>
          <a:noFill/>
          <a:ln w="38100" cap="flat" cmpd="sng" algn="ctr">
            <a:solidFill>
              <a:schemeClr val="bg1"/>
            </a:solidFill>
            <a:prstDash val="solid"/>
            <a:miter lim="800000"/>
            <a:tailEnd type="triangle"/>
          </a:ln>
          <a:effectLst/>
        </p:spPr>
      </p:cxnSp>
      <p:cxnSp>
        <p:nvCxnSpPr>
          <p:cNvPr id="9" name="Straight Arrow Connector 8">
            <a:extLst>
              <a:ext uri="{FF2B5EF4-FFF2-40B4-BE49-F238E27FC236}">
                <a16:creationId xmlns:a16="http://schemas.microsoft.com/office/drawing/2014/main" id="{761EB57C-0E77-4C83-9313-57F344C0CACE}"/>
              </a:ext>
            </a:extLst>
          </p:cNvPr>
          <p:cNvCxnSpPr>
            <a:cxnSpLocks/>
            <a:stCxn id="5" idx="3"/>
          </p:cNvCxnSpPr>
          <p:nvPr/>
        </p:nvCxnSpPr>
        <p:spPr>
          <a:xfrm>
            <a:off x="7868504" y="3721982"/>
            <a:ext cx="1480897" cy="1292648"/>
          </a:xfrm>
          <a:prstGeom prst="straightConnector1">
            <a:avLst/>
          </a:prstGeom>
          <a:noFill/>
          <a:ln w="38100" cap="flat" cmpd="sng" algn="ctr">
            <a:solidFill>
              <a:schemeClr val="bg1"/>
            </a:solidFill>
            <a:prstDash val="solid"/>
            <a:miter lim="800000"/>
            <a:tailEnd type="triangle"/>
          </a:ln>
          <a:effectLst/>
        </p:spPr>
      </p:cxnSp>
      <p:sp>
        <p:nvSpPr>
          <p:cNvPr id="10" name="TextBox 9">
            <a:extLst>
              <a:ext uri="{FF2B5EF4-FFF2-40B4-BE49-F238E27FC236}">
                <a16:creationId xmlns:a16="http://schemas.microsoft.com/office/drawing/2014/main" id="{59207423-2359-4FED-BECB-CA3CCA2A8E47}"/>
              </a:ext>
            </a:extLst>
          </p:cNvPr>
          <p:cNvSpPr txBox="1"/>
          <p:nvPr/>
        </p:nvSpPr>
        <p:spPr>
          <a:xfrm>
            <a:off x="3223830" y="2198214"/>
            <a:ext cx="2705366" cy="3046988"/>
          </a:xfrm>
          <a:prstGeom prst="rect">
            <a:avLst/>
          </a:prstGeom>
          <a:solidFill>
            <a:schemeClr val="tx2">
              <a:lumMod val="20000"/>
              <a:lumOff val="80000"/>
            </a:schemeClr>
          </a:solidFill>
          <a:effectLst>
            <a:outerShdw blurRad="50800" dist="38100" algn="l" rotWithShape="0">
              <a:prstClr val="black">
                <a:alpha val="40000"/>
              </a:prstClr>
            </a:outerShdw>
          </a:effectLst>
        </p:spPr>
        <p:txBody>
          <a:bodyPr wrap="square" rtlCol="0">
            <a:spAutoFit/>
          </a:bodyPr>
          <a:lstStyle/>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body"</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Temperatur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30.25"</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Humidity"</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54.0"</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Pressur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021.8"</a:t>
            </a:r>
            <a:endParaRPr lang="en-AU" sz="1200" kern="0" spc="-112">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properties"</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a:t>
            </a:r>
            <a:r>
              <a:rPr lang="en-AU" sz="1200" kern="0" spc="-112" err="1">
                <a:solidFill>
                  <a:srgbClr val="0451A5"/>
                </a:solidFill>
                <a:latin typeface="Consolas" panose="020B0609020204030204" pitchFamily="49" charset="0"/>
                <a:cs typeface="Segoe UI" panose="020B0502040204020203" pitchFamily="34" charset="0"/>
                <a:sym typeface="Segoe UI Semibold"/>
              </a:rPr>
              <a:t>appid</a:t>
            </a:r>
            <a:r>
              <a:rPr lang="en-AU" sz="1200" kern="0" spc="-112">
                <a:solidFill>
                  <a:srgbClr val="0451A5"/>
                </a:solidFill>
                <a:latin typeface="Consolas" panose="020B0609020204030204" pitchFamily="49" charset="0"/>
                <a:cs typeface="Segoe UI" panose="020B0502040204020203" pitchFamily="34" charset="0"/>
                <a:sym typeface="Segoe UI Semibold"/>
              </a:rPr>
              <a:t>"</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a:t>
            </a:r>
            <a:r>
              <a:rPr lang="en-AU" sz="1200" kern="0" spc="-112" err="1">
                <a:solidFill>
                  <a:srgbClr val="A31515"/>
                </a:solidFill>
                <a:latin typeface="Consolas" panose="020B0609020204030204" pitchFamily="49" charset="0"/>
                <a:cs typeface="Segoe UI" panose="020B0502040204020203" pitchFamily="34" charset="0"/>
                <a:sym typeface="Segoe UI Semibold"/>
              </a:rPr>
              <a:t>hvac</a:t>
            </a:r>
            <a:r>
              <a:rPr lang="en-AU" sz="1200" kern="0" spc="-112">
                <a:solidFill>
                  <a:srgbClr val="A31515"/>
                </a:solidFill>
                <a:latin typeface="Consolas" panose="020B0609020204030204" pitchFamily="49" charset="0"/>
                <a:cs typeface="Segoe UI" panose="020B0502040204020203" pitchFamily="34" charset="0"/>
                <a:sym typeface="Segoe UI Semibold"/>
              </a:rPr>
              <a:t>"</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typ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telemetry"</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format"</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json"</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version"</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latitud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33.8767984"</a:t>
            </a:r>
            <a:r>
              <a:rPr lang="en-AU" sz="1200" kern="0" spc="-112">
                <a:solidFill>
                  <a:srgbClr val="000000"/>
                </a:solidFill>
                <a:latin typeface="Consolas" panose="020B0609020204030204" pitchFamily="49" charset="0"/>
                <a:cs typeface="Segoe UI" panose="020B0502040204020203" pitchFamily="34" charset="0"/>
                <a:sym typeface="Segoe UI Semibold"/>
              </a:rPr>
              <a:t>,</a:t>
            </a:r>
            <a:endParaRPr lang="en-AU" sz="1200" kern="0" spc="-112">
              <a:solidFill>
                <a:srgbClr val="0451A5"/>
              </a:solidFill>
              <a:latin typeface="Consolas" panose="020B0609020204030204" pitchFamily="49" charset="0"/>
              <a:cs typeface="Segoe UI" panose="020B0502040204020203" pitchFamily="34" charset="0"/>
              <a:sym typeface="Segoe UI Semibold"/>
            </a:endParaRPr>
          </a:p>
          <a:p>
            <a:pPr defTabSz="412667" hangingPunct="0"/>
            <a:r>
              <a:rPr lang="en-AU" sz="1200" kern="0" spc="-112">
                <a:solidFill>
                  <a:srgbClr val="0451A5"/>
                </a:solidFill>
                <a:latin typeface="Consolas" panose="020B0609020204030204" pitchFamily="49" charset="0"/>
                <a:cs typeface="Segoe UI" panose="020B0502040204020203" pitchFamily="34" charset="0"/>
                <a:sym typeface="Segoe UI Semibold"/>
              </a:rPr>
              <a:t>    "longitud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51.208305"</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nam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Sydney Factory"</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b="1"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a:t>
            </a:r>
          </a:p>
        </p:txBody>
      </p:sp>
      <p:sp>
        <p:nvSpPr>
          <p:cNvPr id="11" name="Rectangle 10">
            <a:extLst>
              <a:ext uri="{FF2B5EF4-FFF2-40B4-BE49-F238E27FC236}">
                <a16:creationId xmlns:a16="http://schemas.microsoft.com/office/drawing/2014/main" id="{B0EDCD53-4663-4D59-8623-B52EC67F0AB8}"/>
              </a:ext>
            </a:extLst>
          </p:cNvPr>
          <p:cNvSpPr/>
          <p:nvPr/>
        </p:nvSpPr>
        <p:spPr>
          <a:xfrm>
            <a:off x="9414892" y="2025555"/>
            <a:ext cx="2281232"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defRPr/>
            </a:pPr>
            <a:r>
              <a:rPr lang="en-AU" sz="1600" kern="0">
                <a:solidFill>
                  <a:srgbClr val="243A5E">
                    <a:lumMod val="50000"/>
                  </a:srgbClr>
                </a:solidFill>
                <a:latin typeface="Segoe UI" panose="020B0502040204020203" pitchFamily="34" charset="0"/>
                <a:cs typeface="Segoe UI" panose="020B0502040204020203" pitchFamily="34" charset="0"/>
                <a:sym typeface="Segoe UI Semibold"/>
              </a:rPr>
              <a:t>Endpoint Partitioning</a:t>
            </a:r>
          </a:p>
        </p:txBody>
      </p:sp>
      <p:sp>
        <p:nvSpPr>
          <p:cNvPr id="12" name="TextBox 11">
            <a:extLst>
              <a:ext uri="{FF2B5EF4-FFF2-40B4-BE49-F238E27FC236}">
                <a16:creationId xmlns:a16="http://schemas.microsoft.com/office/drawing/2014/main" id="{89154C55-39A6-40EE-994B-53262049D27B}"/>
              </a:ext>
            </a:extLst>
          </p:cNvPr>
          <p:cNvSpPr txBox="1"/>
          <p:nvPr/>
        </p:nvSpPr>
        <p:spPr>
          <a:xfrm>
            <a:off x="10253445" y="2494334"/>
            <a:ext cx="1376530" cy="461665"/>
          </a:xfrm>
          <a:prstGeom prst="rect">
            <a:avLst/>
          </a:prstGeom>
          <a:noFill/>
        </p:spPr>
        <p:txBody>
          <a:bodyPr wrap="squar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HVAC telemetry Event hub</a:t>
            </a:r>
          </a:p>
        </p:txBody>
      </p:sp>
      <p:pic>
        <p:nvPicPr>
          <p:cNvPr id="13" name="Picture 12">
            <a:extLst>
              <a:ext uri="{FF2B5EF4-FFF2-40B4-BE49-F238E27FC236}">
                <a16:creationId xmlns:a16="http://schemas.microsoft.com/office/drawing/2014/main" id="{D9D159FD-A325-4DA7-8CAA-4EA15712E7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9029" y="4656847"/>
            <a:ext cx="708875" cy="708875"/>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11640093-792A-4E63-90AE-6BB1EE6A3820}"/>
              </a:ext>
            </a:extLst>
          </p:cNvPr>
          <p:cNvSpPr txBox="1"/>
          <p:nvPr/>
        </p:nvSpPr>
        <p:spPr>
          <a:xfrm>
            <a:off x="10286980" y="4783798"/>
            <a:ext cx="1229376"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Audit cold path</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Azure storage</a:t>
            </a:r>
          </a:p>
        </p:txBody>
      </p:sp>
      <p:sp>
        <p:nvSpPr>
          <p:cNvPr id="15" name="TextBox 14">
            <a:extLst>
              <a:ext uri="{FF2B5EF4-FFF2-40B4-BE49-F238E27FC236}">
                <a16:creationId xmlns:a16="http://schemas.microsoft.com/office/drawing/2014/main" id="{72173BEE-12B2-45E1-83FF-16673883D422}"/>
              </a:ext>
            </a:extLst>
          </p:cNvPr>
          <p:cNvSpPr txBox="1"/>
          <p:nvPr/>
        </p:nvSpPr>
        <p:spPr>
          <a:xfrm>
            <a:off x="10253445" y="3259866"/>
            <a:ext cx="1409488"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Security telemetry</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Event hub</a:t>
            </a:r>
          </a:p>
        </p:txBody>
      </p:sp>
      <p:pic>
        <p:nvPicPr>
          <p:cNvPr id="18" name="Picture 17" descr="Reekoh | Plugins">
            <a:extLst>
              <a:ext uri="{FF2B5EF4-FFF2-40B4-BE49-F238E27FC236}">
                <a16:creationId xmlns:a16="http://schemas.microsoft.com/office/drawing/2014/main" id="{C1C7398A-6F1B-4C1B-B261-A41E448EF954}"/>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891396" y="2865881"/>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2" descr="Image for post">
            <a:extLst>
              <a:ext uri="{FF2B5EF4-FFF2-40B4-BE49-F238E27FC236}">
                <a16:creationId xmlns:a16="http://schemas.microsoft.com/office/drawing/2014/main" id="{B664F6DA-8F6A-407B-9659-CBC210EADF6E}"/>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565794" y="2400693"/>
            <a:ext cx="688574" cy="69485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 name="Picture 2" descr="Image for post">
            <a:extLst>
              <a:ext uri="{FF2B5EF4-FFF2-40B4-BE49-F238E27FC236}">
                <a16:creationId xmlns:a16="http://schemas.microsoft.com/office/drawing/2014/main" id="{E6AD4545-26DC-47DE-AD43-B35F13162ED3}"/>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602194" y="3933611"/>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Picture 2" descr="Image for post">
            <a:extLst>
              <a:ext uri="{FF2B5EF4-FFF2-40B4-BE49-F238E27FC236}">
                <a16:creationId xmlns:a16="http://schemas.microsoft.com/office/drawing/2014/main" id="{023B6E19-5CBB-46C7-A2C3-ED0FBB2308A4}"/>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602194" y="3185518"/>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770C432-B9C9-4FA8-B2BD-234D3DD795ED}"/>
              </a:ext>
            </a:extLst>
          </p:cNvPr>
          <p:cNvSpPr txBox="1"/>
          <p:nvPr/>
        </p:nvSpPr>
        <p:spPr>
          <a:xfrm>
            <a:off x="10286980" y="4043213"/>
            <a:ext cx="1428724"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Lighting telemetry</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Event hub</a:t>
            </a:r>
          </a:p>
        </p:txBody>
      </p:sp>
      <p:sp>
        <p:nvSpPr>
          <p:cNvPr id="23" name="Rectangle 22">
            <a:extLst>
              <a:ext uri="{FF2B5EF4-FFF2-40B4-BE49-F238E27FC236}">
                <a16:creationId xmlns:a16="http://schemas.microsoft.com/office/drawing/2014/main" id="{15AE4048-5F8B-4575-90BC-C5CA1ED9D38D}"/>
              </a:ext>
            </a:extLst>
          </p:cNvPr>
          <p:cNvSpPr/>
          <p:nvPr/>
        </p:nvSpPr>
        <p:spPr>
          <a:xfrm>
            <a:off x="1970493" y="2157393"/>
            <a:ext cx="1181469"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partitioning</a:t>
            </a:r>
          </a:p>
        </p:txBody>
      </p:sp>
      <p:pic>
        <p:nvPicPr>
          <p:cNvPr id="24" name="Picture 2" descr="Image for post">
            <a:extLst>
              <a:ext uri="{FF2B5EF4-FFF2-40B4-BE49-F238E27FC236}">
                <a16:creationId xmlns:a16="http://schemas.microsoft.com/office/drawing/2014/main" id="{2A2587E8-F015-4E93-8442-390700165074}"/>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23743" y="2959033"/>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978171F0-C411-4AA2-98FA-35ABE10EA40D}"/>
              </a:ext>
            </a:extLst>
          </p:cNvPr>
          <p:cNvSpPr txBox="1"/>
          <p:nvPr/>
        </p:nvSpPr>
        <p:spPr>
          <a:xfrm>
            <a:off x="1970493" y="2708487"/>
            <a:ext cx="1181469"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HVAC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26" name="TextBox 25">
            <a:extLst>
              <a:ext uri="{FF2B5EF4-FFF2-40B4-BE49-F238E27FC236}">
                <a16:creationId xmlns:a16="http://schemas.microsoft.com/office/drawing/2014/main" id="{FA9BB318-EB27-4929-A926-AFBB7F58CA4E}"/>
              </a:ext>
            </a:extLst>
          </p:cNvPr>
          <p:cNvSpPr txBox="1"/>
          <p:nvPr/>
        </p:nvSpPr>
        <p:spPr>
          <a:xfrm>
            <a:off x="1982850" y="3730823"/>
            <a:ext cx="1169111"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Security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27" name="TextBox 26">
            <a:extLst>
              <a:ext uri="{FF2B5EF4-FFF2-40B4-BE49-F238E27FC236}">
                <a16:creationId xmlns:a16="http://schemas.microsoft.com/office/drawing/2014/main" id="{65075F3D-CE61-485C-839D-9CF6F7F5D4EA}"/>
              </a:ext>
            </a:extLst>
          </p:cNvPr>
          <p:cNvSpPr txBox="1"/>
          <p:nvPr/>
        </p:nvSpPr>
        <p:spPr>
          <a:xfrm>
            <a:off x="1982849" y="4465273"/>
            <a:ext cx="1161796"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Lighting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pic>
        <p:nvPicPr>
          <p:cNvPr id="28" name="Picture 2" descr="Image for post">
            <a:extLst>
              <a:ext uri="{FF2B5EF4-FFF2-40B4-BE49-F238E27FC236}">
                <a16:creationId xmlns:a16="http://schemas.microsoft.com/office/drawing/2014/main" id="{874996CE-FAD6-47CF-8BA7-5A26807EA943}"/>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33770" y="3993854"/>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 name="Picture 2" descr="Image for post">
            <a:extLst>
              <a:ext uri="{FF2B5EF4-FFF2-40B4-BE49-F238E27FC236}">
                <a16:creationId xmlns:a16="http://schemas.microsoft.com/office/drawing/2014/main" id="{670543AF-7C1A-44D8-81B7-0F1EDA459BB8}"/>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33770" y="4725144"/>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3999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2" grpId="0"/>
      <p:bldP spid="14" grpId="0"/>
      <p:bldP spid="15" grpId="0"/>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C19BB-71D1-4444-8A63-AF9E5A8B531B}"/>
              </a:ext>
            </a:extLst>
          </p:cNvPr>
          <p:cNvSpPr>
            <a:spLocks noGrp="1"/>
          </p:cNvSpPr>
          <p:nvPr>
            <p:ph type="title"/>
          </p:nvPr>
        </p:nvSpPr>
        <p:spPr>
          <a:xfrm>
            <a:off x="273223" y="427829"/>
            <a:ext cx="12190271" cy="824194"/>
          </a:xfrm>
        </p:spPr>
        <p:txBody>
          <a:bodyPr/>
          <a:lstStyle/>
          <a:p>
            <a:r>
              <a:rPr lang="en-US" dirty="0"/>
              <a:t>IoT Hub Message Routing and Message Enrichments</a:t>
            </a:r>
          </a:p>
        </p:txBody>
      </p:sp>
      <p:pic>
        <p:nvPicPr>
          <p:cNvPr id="3" name="Picture 2">
            <a:extLst>
              <a:ext uri="{FF2B5EF4-FFF2-40B4-BE49-F238E27FC236}">
                <a16:creationId xmlns:a16="http://schemas.microsoft.com/office/drawing/2014/main" id="{C712BB64-A76D-411D-93F2-4120270980FA}"/>
              </a:ext>
            </a:extLst>
          </p:cNvPr>
          <p:cNvPicPr>
            <a:picLocks noChangeAspect="1"/>
          </p:cNvPicPr>
          <p:nvPr/>
        </p:nvPicPr>
        <p:blipFill>
          <a:blip r:embed="rId3"/>
          <a:stretch>
            <a:fillRect/>
          </a:stretch>
        </p:blipFill>
        <p:spPr>
          <a:xfrm>
            <a:off x="177420" y="1083916"/>
            <a:ext cx="8844076" cy="4834435"/>
          </a:xfrm>
          <a:prstGeom prst="rect">
            <a:avLst/>
          </a:prstGeom>
        </p:spPr>
      </p:pic>
      <p:sp>
        <p:nvSpPr>
          <p:cNvPr id="5" name="TextBox 4">
            <a:extLst>
              <a:ext uri="{FF2B5EF4-FFF2-40B4-BE49-F238E27FC236}">
                <a16:creationId xmlns:a16="http://schemas.microsoft.com/office/drawing/2014/main" id="{1828ABF0-E1C4-4C1B-9DF3-4F378A45F82B}"/>
              </a:ext>
            </a:extLst>
          </p:cNvPr>
          <p:cNvSpPr txBox="1"/>
          <p:nvPr/>
        </p:nvSpPr>
        <p:spPr>
          <a:xfrm>
            <a:off x="9200170" y="1745726"/>
            <a:ext cx="2635035" cy="2221062"/>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Enrichment Values supported</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Twin tags, properties</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IoT Hub name</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Static string</a:t>
            </a:r>
            <a:endParaRPr lang="en-US" sz="2000" dirty="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1963875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0FB9E-173D-42F3-BF84-EE132C2D97CA}"/>
              </a:ext>
            </a:extLst>
          </p:cNvPr>
          <p:cNvSpPr>
            <a:spLocks noGrp="1"/>
          </p:cNvSpPr>
          <p:nvPr>
            <p:ph type="title"/>
          </p:nvPr>
        </p:nvSpPr>
        <p:spPr/>
        <p:txBody>
          <a:bodyPr/>
          <a:lstStyle/>
          <a:p>
            <a:r>
              <a:rPr lang="en-US"/>
              <a:t>Serverless Integration</a:t>
            </a:r>
          </a:p>
        </p:txBody>
      </p:sp>
      <p:pic>
        <p:nvPicPr>
          <p:cNvPr id="3" name="Picture 2">
            <a:extLst>
              <a:ext uri="{FF2B5EF4-FFF2-40B4-BE49-F238E27FC236}">
                <a16:creationId xmlns:a16="http://schemas.microsoft.com/office/drawing/2014/main" id="{01ED40C4-C00D-4D4A-96CF-2504A5BBF0A9}"/>
              </a:ext>
            </a:extLst>
          </p:cNvPr>
          <p:cNvPicPr>
            <a:picLocks noChangeAspect="1"/>
          </p:cNvPicPr>
          <p:nvPr/>
        </p:nvPicPr>
        <p:blipFill>
          <a:blip r:embed="rId3"/>
          <a:stretch>
            <a:fillRect/>
          </a:stretch>
        </p:blipFill>
        <p:spPr>
          <a:xfrm>
            <a:off x="455980" y="1460188"/>
            <a:ext cx="6950934" cy="4598873"/>
          </a:xfrm>
          <a:prstGeom prst="rect">
            <a:avLst/>
          </a:prstGeom>
        </p:spPr>
      </p:pic>
      <p:sp>
        <p:nvSpPr>
          <p:cNvPr id="5" name="TextBox 4">
            <a:extLst>
              <a:ext uri="{FF2B5EF4-FFF2-40B4-BE49-F238E27FC236}">
                <a16:creationId xmlns:a16="http://schemas.microsoft.com/office/drawing/2014/main" id="{9680D9DA-871E-4404-A36F-544B0D4FF2DB}"/>
              </a:ext>
            </a:extLst>
          </p:cNvPr>
          <p:cNvSpPr txBox="1"/>
          <p:nvPr/>
        </p:nvSpPr>
        <p:spPr>
          <a:xfrm>
            <a:off x="7558528" y="1977017"/>
            <a:ext cx="4451899" cy="1938589"/>
          </a:xfrm>
          <a:prstGeom prst="rect">
            <a:avLst/>
          </a:prstGeom>
          <a:noFill/>
        </p:spPr>
        <p:txBody>
          <a:bodyPr wrap="square" lIns="182854" tIns="146284" rIns="182854" bIns="146284" rtlCol="0">
            <a:spAutoFit/>
          </a:bodyPr>
          <a:lstStyle/>
          <a:p>
            <a:pPr defTabSz="914367">
              <a:lnSpc>
                <a:spcPct val="90000"/>
              </a:lnSpc>
              <a:spcAft>
                <a:spcPts val="600"/>
              </a:spcAft>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Events supported:</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Telemetry </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Created/Deleted Events</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Connected/Disconnected Events</a:t>
            </a:r>
            <a:endParaRPr lang="en-US" sz="200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7293696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10838" y="422596"/>
            <a:ext cx="9263739" cy="548985"/>
          </a:xfrm>
        </p:spPr>
        <p:txBody>
          <a:bodyPr/>
          <a:lstStyle/>
          <a:p>
            <a:r>
              <a:rPr lang="en-US" sz="4400" dirty="0">
                <a:solidFill>
                  <a:schemeClr val="tx1"/>
                </a:solidFill>
              </a:rPr>
              <a:t>Build end to end IoT Solutions</a:t>
            </a:r>
            <a:endParaRPr lang="en-US" sz="4400" dirty="0">
              <a:gradFill>
                <a:gsLst>
                  <a:gs pos="0">
                    <a:schemeClr val="accent5"/>
                  </a:gs>
                  <a:gs pos="100000">
                    <a:schemeClr val="accent4"/>
                  </a:gs>
                </a:gsLst>
                <a:lin ang="2700000" scaled="1"/>
              </a:gradFill>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91461" y="1890152"/>
            <a:ext cx="9704006" cy="548985"/>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sz="3600" dirty="0">
                <a:solidFill>
                  <a:schemeClr val="tx1"/>
                </a:solidFill>
              </a:rPr>
              <a:t>1.</a:t>
            </a:r>
            <a:r>
              <a:rPr lang="en-US" sz="3600" dirty="0">
                <a:solidFill>
                  <a:schemeClr val="accent5"/>
                </a:solidFill>
              </a:rPr>
              <a:t> </a:t>
            </a:r>
            <a:r>
              <a:rPr lang="en-US" sz="3600" dirty="0">
                <a:gradFill>
                  <a:gsLst>
                    <a:gs pos="0">
                      <a:schemeClr val="accent5"/>
                    </a:gs>
                    <a:gs pos="100000">
                      <a:schemeClr val="accent4"/>
                    </a:gs>
                  </a:gsLst>
                  <a:lin ang="2700000" scaled="1"/>
                </a:gradFill>
              </a:rPr>
              <a:t>Transform your business with IoT</a:t>
            </a:r>
          </a:p>
          <a:p>
            <a:r>
              <a:rPr lang="en-US" sz="3600" dirty="0">
                <a:solidFill>
                  <a:schemeClr val="tx1"/>
                </a:solidFill>
              </a:rPr>
              <a:t>2. Connect devices to the cloud</a:t>
            </a:r>
          </a:p>
          <a:p>
            <a:r>
              <a:rPr lang="en-US" sz="3600" dirty="0">
                <a:solidFill>
                  <a:schemeClr val="tx1"/>
                </a:solidFill>
              </a:rPr>
              <a:t>3. </a:t>
            </a:r>
            <a:r>
              <a:rPr lang="en-US" sz="3600" dirty="0">
                <a:gradFill>
                  <a:gsLst>
                    <a:gs pos="0">
                      <a:schemeClr val="accent5"/>
                    </a:gs>
                    <a:gs pos="100000">
                      <a:schemeClr val="accent4"/>
                    </a:gs>
                  </a:gsLst>
                  <a:lin ang="2700000" scaled="1"/>
                </a:gradFill>
              </a:rPr>
              <a:t>Provision devices at scale</a:t>
            </a:r>
          </a:p>
          <a:p>
            <a:r>
              <a:rPr lang="en-US" sz="3600" dirty="0">
                <a:solidFill>
                  <a:schemeClr val="tx1"/>
                </a:solidFill>
              </a:rPr>
              <a:t>4. </a:t>
            </a:r>
            <a:r>
              <a:rPr lang="en-US" sz="3600" dirty="0">
                <a:gradFill>
                  <a:gsLst>
                    <a:gs pos="0">
                      <a:schemeClr val="accent5"/>
                    </a:gs>
                    <a:gs pos="100000">
                      <a:schemeClr val="accent4"/>
                    </a:gs>
                  </a:gsLst>
                  <a:lin ang="2700000" scaled="1"/>
                </a:gradFill>
              </a:rPr>
              <a:t>Understand IoT message processing, analytics, and business integration</a:t>
            </a:r>
          </a:p>
          <a:p>
            <a:r>
              <a:rPr lang="en-US" sz="3600" dirty="0">
                <a:solidFill>
                  <a:schemeClr val="tx1"/>
                </a:solidFill>
              </a:rPr>
              <a:t>5. </a:t>
            </a:r>
            <a:r>
              <a:rPr lang="en-US" sz="3600" dirty="0">
                <a:gradFill>
                  <a:gsLst>
                    <a:gs pos="0">
                      <a:schemeClr val="accent5"/>
                    </a:gs>
                    <a:gs pos="100000">
                      <a:schemeClr val="accent4"/>
                    </a:gs>
                  </a:gsLst>
                  <a:lin ang="2700000" scaled="1"/>
                </a:gradFill>
              </a:rPr>
              <a:t>Build the intelligent edge</a:t>
            </a:r>
          </a:p>
          <a:p>
            <a:r>
              <a:rPr lang="en-US" sz="3600" dirty="0">
                <a:solidFill>
                  <a:schemeClr val="tx1"/>
                </a:solidFill>
              </a:rPr>
              <a:t>6. </a:t>
            </a:r>
            <a:r>
              <a:rPr lang="en-US" sz="3600" dirty="0">
                <a:gradFill>
                  <a:gsLst>
                    <a:gs pos="0">
                      <a:schemeClr val="accent5"/>
                    </a:gs>
                    <a:gs pos="100000">
                      <a:schemeClr val="accent4"/>
                    </a:gs>
                  </a:gsLst>
                  <a:lin ang="2700000" scaled="1"/>
                </a:gradFill>
              </a:rPr>
              <a:t>Build IoT solutions with Azure IoT Central</a:t>
            </a:r>
          </a:p>
          <a:p>
            <a:endParaRPr lang="en-US" sz="36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289738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1.66667E-6 -3.7037E-7 L -1.66667E-6 0.01898 " pathEditMode="relative" rAng="0" ptsTypes="AA">
                                      <p:cBhvr>
                                        <p:cTn id="9" dur="700" spd="-100000" fill="hold"/>
                                        <p:tgtEl>
                                          <p:spTgt spid="3"/>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4.375E-6 7.40741E-7 L -4.375E-6 0.01898 " pathEditMode="relative" rAng="0" ptsTypes="AA">
                                      <p:cBhvr>
                                        <p:cTn id="14"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2825544-41C4-49AE-BEA0-8576D685821A}"/>
              </a:ext>
            </a:extLst>
          </p:cNvPr>
          <p:cNvSpPr/>
          <p:nvPr/>
        </p:nvSpPr>
        <p:spPr bwMode="auto">
          <a:xfrm>
            <a:off x="-1" y="0"/>
            <a:ext cx="12172256"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D85924-5F55-4239-B031-6CDFB4BCCE28}"/>
              </a:ext>
            </a:extLst>
          </p:cNvPr>
          <p:cNvSpPr>
            <a:spLocks noGrp="1"/>
          </p:cNvSpPr>
          <p:nvPr>
            <p:ph type="title"/>
          </p:nvPr>
        </p:nvSpPr>
        <p:spPr>
          <a:xfrm>
            <a:off x="455996" y="2250947"/>
            <a:ext cx="6869144" cy="883407"/>
          </a:xfrm>
        </p:spPr>
        <p:txBody>
          <a:bodyPr vert="horz" wrap="square" lIns="0" tIns="0" rIns="0" bIns="0" rtlCol="0" anchor="t">
            <a:noAutofit/>
          </a:bodyPr>
          <a:lstStyle/>
          <a:p>
            <a:pPr>
              <a:lnSpc>
                <a:spcPct val="100000"/>
              </a:lnSpc>
            </a:pPr>
            <a:r>
              <a:rPr lang="en-US" sz="3200" dirty="0">
                <a:solidFill>
                  <a:schemeClr val="accent5"/>
                </a:solidFill>
              </a:rPr>
              <a:t>NEW: Device Update </a:t>
            </a:r>
            <a:br>
              <a:rPr lang="en-US" sz="3200" dirty="0">
                <a:solidFill>
                  <a:schemeClr val="accent5"/>
                </a:solidFill>
              </a:rPr>
            </a:br>
            <a:r>
              <a:rPr lang="en-US" sz="3200" dirty="0">
                <a:solidFill>
                  <a:schemeClr val="bg1"/>
                </a:solidFill>
              </a:rPr>
              <a:t>for IoT Hub</a:t>
            </a:r>
            <a:endParaRPr lang="en-US" sz="2800" dirty="0">
              <a:solidFill>
                <a:schemeClr val="bg1"/>
              </a:solidFill>
            </a:endParaRPr>
          </a:p>
        </p:txBody>
      </p:sp>
      <p:sp>
        <p:nvSpPr>
          <p:cNvPr id="5" name="Rectangle 4">
            <a:extLst>
              <a:ext uri="{FF2B5EF4-FFF2-40B4-BE49-F238E27FC236}">
                <a16:creationId xmlns:a16="http://schemas.microsoft.com/office/drawing/2014/main" id="{AAF07187-7741-42D0-A6E6-9B7A4ED0658D}"/>
              </a:ext>
            </a:extLst>
          </p:cNvPr>
          <p:cNvSpPr/>
          <p:nvPr/>
        </p:nvSpPr>
        <p:spPr>
          <a:xfrm>
            <a:off x="467719" y="3723647"/>
            <a:ext cx="6200814" cy="923330"/>
          </a:xfrm>
          <a:prstGeom prst="rect">
            <a:avLst/>
          </a:prstGeom>
        </p:spPr>
        <p:txBody>
          <a:bodyPr wrap="square" lIns="0" tIns="0" rIns="0" bIns="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Times New Roman" panose="02020603050405020304" pitchFamily="18" charset="0"/>
              </a:rPr>
              <a:t>is an end-to-end platform for publishing, distributing, and managing </a:t>
            </a:r>
            <a:r>
              <a:rPr kumimoji="0" lang="en-US" sz="2000" b="0" i="0" u="none" strike="noStrike" kern="1200" cap="none" spc="0" normalizeH="0" baseline="0" noProof="0">
                <a:ln>
                  <a:noFill/>
                </a:ln>
                <a:solidFill>
                  <a:srgbClr val="50E6FF"/>
                </a:solidFill>
                <a:effectLst/>
                <a:uLnTx/>
                <a:uFillTx/>
                <a:latin typeface="Segoe UI Semibold"/>
                <a:ea typeface="+mn-ea"/>
                <a:cs typeface="Times New Roman" panose="02020603050405020304" pitchFamily="18" charset="0"/>
              </a:rPr>
              <a:t>over-the-air updates for IoT devices</a:t>
            </a:r>
            <a:r>
              <a:rPr kumimoji="0" lang="en-US" sz="2000" b="0" i="0" u="none" strike="noStrike" kern="1200" cap="none" spc="0" normalizeH="0" baseline="0" noProof="0">
                <a:ln>
                  <a:noFill/>
                </a:ln>
                <a:solidFill>
                  <a:srgbClr val="FFFFFF"/>
                </a:solidFill>
                <a:effectLst/>
                <a:uLnTx/>
                <a:uFillTx/>
                <a:latin typeface="Segoe UI"/>
                <a:ea typeface="+mn-ea"/>
                <a:cs typeface="Times New Roman" panose="02020603050405020304" pitchFamily="18" charset="0"/>
              </a:rPr>
              <a:t> – from tiny sensors to gateway-level modules</a:t>
            </a:r>
          </a:p>
        </p:txBody>
      </p:sp>
      <p:pic>
        <p:nvPicPr>
          <p:cNvPr id="9" name="Graphic 8">
            <a:extLst>
              <a:ext uri="{FF2B5EF4-FFF2-40B4-BE49-F238E27FC236}">
                <a16:creationId xmlns:a16="http://schemas.microsoft.com/office/drawing/2014/main" id="{E6E82D12-5268-48A8-98C5-56B5582846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2657" y="1922955"/>
            <a:ext cx="3012081" cy="3012090"/>
          </a:xfrm>
          <a:prstGeom prst="rect">
            <a:avLst/>
          </a:prstGeom>
        </p:spPr>
      </p:pic>
      <p:cxnSp>
        <p:nvCxnSpPr>
          <p:cNvPr id="11" name="Straight Connector 10">
            <a:extLst>
              <a:ext uri="{FF2B5EF4-FFF2-40B4-BE49-F238E27FC236}">
                <a16:creationId xmlns:a16="http://schemas.microsoft.com/office/drawing/2014/main" id="{B8E219C8-D7C0-444C-8A3B-7B04ECF181C8}"/>
              </a:ext>
            </a:extLst>
          </p:cNvPr>
          <p:cNvCxnSpPr>
            <a:cxnSpLocks/>
          </p:cNvCxnSpPr>
          <p:nvPr/>
        </p:nvCxnSpPr>
        <p:spPr>
          <a:xfrm>
            <a:off x="455613" y="3429000"/>
            <a:ext cx="7075487" cy="0"/>
          </a:xfrm>
          <a:prstGeom prst="line">
            <a:avLst/>
          </a:prstGeom>
          <a:ln>
            <a:gradFill flip="none" rotWithShape="1">
              <a:gsLst>
                <a:gs pos="0">
                  <a:schemeClr val="accent5"/>
                </a:gs>
                <a:gs pos="100000">
                  <a:schemeClr val="tx2"/>
                </a:gs>
              </a:gsLst>
              <a:lin ang="10800000" scaled="1"/>
              <a:tileRect/>
            </a:gradFill>
            <a:headEnd type="none"/>
            <a:tailEnd type="non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930765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5"/>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50"/>
                                  </p:stCondLst>
                                  <p:childTnLst>
                                    <p:animMotion origin="layout" path="M 0 4.44444E-6 L 0 0.01898 " pathEditMode="relative" rAng="0" ptsTypes="AA">
                                      <p:cBhvr>
                                        <p:cTn id="14" dur="700" spd="-100000" fill="hold"/>
                                        <p:tgtEl>
                                          <p:spTgt spid="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DCCA3C78-60DD-4EDC-9845-69443508048F}"/>
              </a:ext>
            </a:extLst>
          </p:cNvPr>
          <p:cNvSpPr/>
          <p:nvPr/>
        </p:nvSpPr>
        <p:spPr bwMode="auto">
          <a:xfrm>
            <a:off x="-1" y="0"/>
            <a:ext cx="12172256"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490C7C5A-22BC-435F-ABB1-994B44A2D967}"/>
              </a:ext>
            </a:extLst>
          </p:cNvPr>
          <p:cNvSpPr>
            <a:spLocks noGrp="1"/>
          </p:cNvSpPr>
          <p:nvPr>
            <p:ph type="title"/>
          </p:nvPr>
        </p:nvSpPr>
        <p:spPr>
          <a:xfrm>
            <a:off x="455995" y="620428"/>
            <a:ext cx="11306469" cy="403137"/>
          </a:xfrm>
        </p:spPr>
        <p:txBody>
          <a:bodyPr vert="horz" wrap="square" lIns="0" tIns="0" rIns="0" bIns="0" rtlCol="0" anchor="t">
            <a:noAutofit/>
          </a:bodyPr>
          <a:lstStyle/>
          <a:p>
            <a:r>
              <a:rPr lang="en-US" sz="3200" dirty="0">
                <a:solidFill>
                  <a:schemeClr val="accent5"/>
                </a:solidFill>
              </a:rPr>
              <a:t>Device Update for IoT Hub Robust features </a:t>
            </a:r>
            <a:br>
              <a:rPr lang="en-US" sz="3200" dirty="0">
                <a:solidFill>
                  <a:schemeClr val="bg1"/>
                </a:solidFill>
              </a:rPr>
            </a:br>
            <a:r>
              <a:rPr lang="en-US" sz="3200" dirty="0">
                <a:solidFill>
                  <a:schemeClr val="bg1"/>
                </a:solidFill>
              </a:rPr>
              <a:t>for every IoT ecosystem</a:t>
            </a:r>
          </a:p>
        </p:txBody>
      </p:sp>
      <p:grpSp>
        <p:nvGrpSpPr>
          <p:cNvPr id="21" name="Group 20">
            <a:extLst>
              <a:ext uri="{FF2B5EF4-FFF2-40B4-BE49-F238E27FC236}">
                <a16:creationId xmlns:a16="http://schemas.microsoft.com/office/drawing/2014/main" id="{0AA14418-788A-40F7-8B69-492435891D3A}"/>
              </a:ext>
            </a:extLst>
          </p:cNvPr>
          <p:cNvGrpSpPr/>
          <p:nvPr/>
        </p:nvGrpSpPr>
        <p:grpSpPr>
          <a:xfrm>
            <a:off x="455612" y="2026526"/>
            <a:ext cx="11280775" cy="1629050"/>
            <a:chOff x="455612" y="2026526"/>
            <a:chExt cx="11280775" cy="1629050"/>
          </a:xfrm>
        </p:grpSpPr>
        <p:sp>
          <p:nvSpPr>
            <p:cNvPr id="8" name="Title 1">
              <a:extLst>
                <a:ext uri="{FF2B5EF4-FFF2-40B4-BE49-F238E27FC236}">
                  <a16:creationId xmlns:a16="http://schemas.microsoft.com/office/drawing/2014/main" id="{AC7E991B-2273-43E0-A54E-2B43AE13AB98}"/>
                </a:ext>
              </a:extLst>
            </p:cNvPr>
            <p:cNvSpPr txBox="1">
              <a:spLocks/>
            </p:cNvSpPr>
            <p:nvPr/>
          </p:nvSpPr>
          <p:spPr>
            <a:xfrm>
              <a:off x="455613" y="2732246"/>
              <a:ext cx="3711653"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a:rPr>
                <a:t>APIs </a:t>
              </a:r>
              <a:r>
                <a:rPr kumimoji="0" lang="en-US" sz="2000" b="0" i="0" u="none" strike="noStrike" kern="1200" cap="none" spc="0" normalizeH="0" baseline="0" noProof="0">
                  <a:ln>
                    <a:noFill/>
                  </a:ln>
                  <a:solidFill>
                    <a:srgbClr val="FFFFFF"/>
                  </a:solidFill>
                  <a:effectLst/>
                  <a:uLnTx/>
                  <a:uFillTx/>
                  <a:latin typeface="Segoe UI"/>
                  <a:ea typeface="+mn-ea"/>
                  <a:cs typeface="Segoe UI"/>
                </a:rPr>
                <a:t>make it easy to build your own portals and clients</a:t>
              </a:r>
              <a:endParaRPr kumimoji="0" lang="en-US" sz="1800" b="0" i="0" u="none" strike="noStrike" kern="1200" cap="none" spc="-50" normalizeH="0" baseline="0" noProof="0">
                <a:ln w="3175">
                  <a:noFill/>
                </a:ln>
                <a:solidFill>
                  <a:srgbClr val="FFFFFF"/>
                </a:solidFill>
                <a:effectLst/>
                <a:uLnTx/>
                <a:uFillTx/>
                <a:latin typeface="Segoe UI"/>
                <a:ea typeface="+mn-ea"/>
                <a:cs typeface="Segoe UI"/>
              </a:endParaRPr>
            </a:p>
          </p:txBody>
        </p:sp>
        <p:sp>
          <p:nvSpPr>
            <p:cNvPr id="14" name="Title 1">
              <a:extLst>
                <a:ext uri="{FF2B5EF4-FFF2-40B4-BE49-F238E27FC236}">
                  <a16:creationId xmlns:a16="http://schemas.microsoft.com/office/drawing/2014/main" id="{B26AFE52-37A5-469F-A451-E37686603D83}"/>
                </a:ext>
              </a:extLst>
            </p:cNvPr>
            <p:cNvSpPr txBox="1">
              <a:spLocks/>
            </p:cNvSpPr>
            <p:nvPr/>
          </p:nvSpPr>
          <p:spPr>
            <a:xfrm>
              <a:off x="4952183" y="2732246"/>
              <a:ext cx="3246957"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pitchFamily="34" charset="0"/>
                </a:rPr>
                <a:t>Seamless UX Integration </a:t>
              </a: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with Azure IoT Hub</a:t>
              </a:r>
            </a:p>
          </p:txBody>
        </p:sp>
        <p:sp>
          <p:nvSpPr>
            <p:cNvPr id="15" name="Title 1">
              <a:extLst>
                <a:ext uri="{FF2B5EF4-FFF2-40B4-BE49-F238E27FC236}">
                  <a16:creationId xmlns:a16="http://schemas.microsoft.com/office/drawing/2014/main" id="{BA934765-9780-449F-B589-89740D6DB0CB}"/>
                </a:ext>
              </a:extLst>
            </p:cNvPr>
            <p:cNvSpPr txBox="1">
              <a:spLocks/>
            </p:cNvSpPr>
            <p:nvPr/>
          </p:nvSpPr>
          <p:spPr>
            <a:xfrm>
              <a:off x="8678338" y="2732246"/>
              <a:ext cx="3058049"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pitchFamily="34" charset="0"/>
                </a:rPr>
                <a:t>Broad support </a:t>
              </a: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for IoT operating systems, extensible via open source</a:t>
              </a:r>
            </a:p>
          </p:txBody>
        </p:sp>
        <p:pic>
          <p:nvPicPr>
            <p:cNvPr id="5" name="Graphic 4">
              <a:extLst>
                <a:ext uri="{FF2B5EF4-FFF2-40B4-BE49-F238E27FC236}">
                  <a16:creationId xmlns:a16="http://schemas.microsoft.com/office/drawing/2014/main" id="{BA8F744F-001B-42AB-B07E-76F8C23E82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612" y="2105743"/>
              <a:ext cx="604280" cy="497642"/>
            </a:xfrm>
            <a:prstGeom prst="rect">
              <a:avLst/>
            </a:prstGeom>
          </p:spPr>
        </p:pic>
        <p:pic>
          <p:nvPicPr>
            <p:cNvPr id="18" name="Graphic 17">
              <a:extLst>
                <a:ext uri="{FF2B5EF4-FFF2-40B4-BE49-F238E27FC236}">
                  <a16:creationId xmlns:a16="http://schemas.microsoft.com/office/drawing/2014/main" id="{4AFD6009-E9EE-4E5C-AA2D-E3BB667408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2183" y="2026526"/>
              <a:ext cx="576859" cy="576859"/>
            </a:xfrm>
            <a:prstGeom prst="rect">
              <a:avLst/>
            </a:prstGeom>
          </p:spPr>
        </p:pic>
        <p:pic>
          <p:nvPicPr>
            <p:cNvPr id="6" name="Graphic 5">
              <a:extLst>
                <a:ext uri="{FF2B5EF4-FFF2-40B4-BE49-F238E27FC236}">
                  <a16:creationId xmlns:a16="http://schemas.microsoft.com/office/drawing/2014/main" id="{EE4B2460-61C9-4E64-9875-EDD422BC95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8338" y="2026526"/>
              <a:ext cx="570407" cy="570407"/>
            </a:xfrm>
            <a:prstGeom prst="rect">
              <a:avLst/>
            </a:prstGeom>
          </p:spPr>
        </p:pic>
      </p:grpSp>
      <p:grpSp>
        <p:nvGrpSpPr>
          <p:cNvPr id="22" name="Group 21">
            <a:extLst>
              <a:ext uri="{FF2B5EF4-FFF2-40B4-BE49-F238E27FC236}">
                <a16:creationId xmlns:a16="http://schemas.microsoft.com/office/drawing/2014/main" id="{33ACF163-C999-41D2-B07D-28F1B3E25B45}"/>
              </a:ext>
            </a:extLst>
          </p:cNvPr>
          <p:cNvGrpSpPr/>
          <p:nvPr/>
        </p:nvGrpSpPr>
        <p:grpSpPr>
          <a:xfrm>
            <a:off x="455612" y="4202727"/>
            <a:ext cx="7549136" cy="2268238"/>
            <a:chOff x="455612" y="4202727"/>
            <a:chExt cx="7549136" cy="2268238"/>
          </a:xfrm>
        </p:grpSpPr>
        <p:sp>
          <p:nvSpPr>
            <p:cNvPr id="16" name="Title 1">
              <a:extLst>
                <a:ext uri="{FF2B5EF4-FFF2-40B4-BE49-F238E27FC236}">
                  <a16:creationId xmlns:a16="http://schemas.microsoft.com/office/drawing/2014/main" id="{A3FEBD17-CF65-40F4-B25E-64FC3FA172DE}"/>
                </a:ext>
              </a:extLst>
            </p:cNvPr>
            <p:cNvSpPr txBox="1">
              <a:spLocks/>
            </p:cNvSpPr>
            <p:nvPr/>
          </p:nvSpPr>
          <p:spPr>
            <a:xfrm>
              <a:off x="455612" y="4932082"/>
              <a:ext cx="3246957" cy="15388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Microsoft Connected Cache enables you to easily </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a:rPr>
                <a:t>update devices downstream of a gateway </a:t>
              </a:r>
              <a:r>
                <a:rPr kumimoji="0" lang="en-US" sz="2000" b="0" i="0" u="none" strike="noStrike" kern="1200" cap="none" spc="0" normalizeH="0" baseline="0" noProof="0" dirty="0">
                  <a:ln>
                    <a:noFill/>
                  </a:ln>
                  <a:solidFill>
                    <a:srgbClr val="FFFFFF"/>
                  </a:solidFill>
                  <a:effectLst/>
                  <a:uLnTx/>
                  <a:uFillTx/>
                  <a:latin typeface="Segoe UI"/>
                  <a:ea typeface="+mn-ea"/>
                  <a:cs typeface="Segoe UI"/>
                </a:rPr>
                <a:t>and in</a:t>
              </a:r>
              <a:r>
                <a:rPr kumimoji="0" lang="en-US" sz="2000" b="0" i="0" u="none" strike="noStrike" kern="1200" cap="none" spc="0" normalizeH="0" baseline="0" noProof="0" dirty="0">
                  <a:ln>
                    <a:noFill/>
                  </a:ln>
                  <a:solidFill>
                    <a:srgbClr val="FFFFFF"/>
                  </a:solidFill>
                  <a:effectLst/>
                  <a:uLnTx/>
                  <a:uFillTx/>
                  <a:latin typeface="Segoe UI Semibold"/>
                  <a:ea typeface="+mn-ea"/>
                  <a:cs typeface="Segoe UI"/>
                </a:rPr>
                <a:t> </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a:rPr>
                <a:t>nested topologies</a:t>
              </a:r>
            </a:p>
          </p:txBody>
        </p:sp>
        <p:sp>
          <p:nvSpPr>
            <p:cNvPr id="17" name="Title 1">
              <a:extLst>
                <a:ext uri="{FF2B5EF4-FFF2-40B4-BE49-F238E27FC236}">
                  <a16:creationId xmlns:a16="http://schemas.microsoft.com/office/drawing/2014/main" id="{5D40FB56-2517-4F1B-BF3B-6CDEB80A24F6}"/>
                </a:ext>
              </a:extLst>
            </p:cNvPr>
            <p:cNvSpPr txBox="1">
              <a:spLocks/>
            </p:cNvSpPr>
            <p:nvPr/>
          </p:nvSpPr>
          <p:spPr>
            <a:xfrm>
              <a:off x="4952183" y="4932082"/>
              <a:ext cx="3052565"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Robust</a:t>
              </a:r>
              <a:r>
                <a:rPr kumimoji="0" lang="en-US" sz="2000" b="0" i="0" u="none" strike="noStrike" kern="1200" cap="none" spc="0" normalizeH="0" baseline="0" noProof="0">
                  <a:ln>
                    <a:noFill/>
                  </a:ln>
                  <a:solidFill>
                    <a:srgbClr val="50E6FF"/>
                  </a:solidFill>
                  <a:effectLst/>
                  <a:uLnTx/>
                  <a:uFillTx/>
                  <a:latin typeface="Segoe UI Semibold"/>
                  <a:ea typeface="+mn-ea"/>
                  <a:cs typeface="Segoe UI"/>
                </a:rPr>
                <a:t> scheduling, notification, and reporting tools </a:t>
              </a:r>
              <a:r>
                <a:rPr kumimoji="0" lang="en-US" sz="2000" b="0" i="0" u="none" strike="noStrike" kern="1200" cap="none" spc="0" normalizeH="0" baseline="0" noProof="0">
                  <a:ln>
                    <a:noFill/>
                  </a:ln>
                  <a:solidFill>
                    <a:srgbClr val="FFFFFF"/>
                  </a:solidFill>
                  <a:effectLst/>
                  <a:uLnTx/>
                  <a:uFillTx/>
                  <a:latin typeface="Segoe UI"/>
                  <a:ea typeface="+mn-ea"/>
                  <a:cs typeface="Segoe UI"/>
                </a:rPr>
                <a:t>help keep you informed and in control</a:t>
              </a:r>
            </a:p>
          </p:txBody>
        </p:sp>
        <p:pic>
          <p:nvPicPr>
            <p:cNvPr id="7" name="Graphic 6">
              <a:extLst>
                <a:ext uri="{FF2B5EF4-FFF2-40B4-BE49-F238E27FC236}">
                  <a16:creationId xmlns:a16="http://schemas.microsoft.com/office/drawing/2014/main" id="{0EDD99A1-C467-4C32-84CC-27B28DC870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5612" y="4202727"/>
              <a:ext cx="665345" cy="517491"/>
            </a:xfrm>
            <a:prstGeom prst="rect">
              <a:avLst/>
            </a:prstGeom>
          </p:spPr>
        </p:pic>
        <p:pic>
          <p:nvPicPr>
            <p:cNvPr id="20" name="Graphic 19">
              <a:extLst>
                <a:ext uri="{FF2B5EF4-FFF2-40B4-BE49-F238E27FC236}">
                  <a16:creationId xmlns:a16="http://schemas.microsoft.com/office/drawing/2014/main" id="{AB4469C0-4807-459B-92F2-DDC35FB678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52183" y="4202727"/>
              <a:ext cx="614554" cy="499325"/>
            </a:xfrm>
            <a:prstGeom prst="rect">
              <a:avLst/>
            </a:prstGeom>
          </p:spPr>
        </p:pic>
      </p:grpSp>
    </p:spTree>
    <p:extLst>
      <p:ext uri="{BB962C8B-B14F-4D97-AF65-F5344CB8AC3E}">
        <p14:creationId xmlns:p14="http://schemas.microsoft.com/office/powerpoint/2010/main" val="10584267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path" presetSubtype="0" decel="100000" fill="hold" nodeType="withEffect">
                                  <p:stCondLst>
                                    <p:cond delay="0"/>
                                  </p:stCondLst>
                                  <p:childTnLst>
                                    <p:animMotion origin="layout" path="M -3.75E-6 4.81481E-6 L -3.75E-6 0.01898 " pathEditMode="relative" rAng="0" ptsTypes="AA">
                                      <p:cBhvr>
                                        <p:cTn id="9" dur="700" spd="-100000" fill="hold"/>
                                        <p:tgtEl>
                                          <p:spTgt spid="21"/>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nodeType="withEffect">
                                  <p:stCondLst>
                                    <p:cond delay="250"/>
                                  </p:stCondLst>
                                  <p:childTnLst>
                                    <p:animMotion origin="layout" path="M 5E-6 4.44444E-6 L 5E-6 0.01898 " pathEditMode="relative" rAng="0" ptsTypes="AA">
                                      <p:cBhvr>
                                        <p:cTn id="14" dur="700" spd="-100000" fill="hold"/>
                                        <p:tgtEl>
                                          <p:spTgt spid="2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3" name="Picture 152" descr="Sphere of mesh and nodes">
            <a:extLst>
              <a:ext uri="{FF2B5EF4-FFF2-40B4-BE49-F238E27FC236}">
                <a16:creationId xmlns:a16="http://schemas.microsoft.com/office/drawing/2014/main" id="{DA81C5CC-EDE9-4D13-B2DD-8D308C0D6C00}"/>
              </a:ext>
            </a:extLst>
          </p:cNvPr>
          <p:cNvPicPr>
            <a:picLocks noChangeAspect="1"/>
          </p:cNvPicPr>
          <p:nvPr/>
        </p:nvPicPr>
        <p:blipFill rotWithShape="1">
          <a:blip r:embed="rId3" cstate="screen">
            <a:alphaModFix amt="60000"/>
            <a:extLst>
              <a:ext uri="{28A0092B-C50C-407E-A947-70E740481C1C}">
                <a14:useLocalDpi xmlns:a14="http://schemas.microsoft.com/office/drawing/2010/main"/>
              </a:ext>
            </a:extLst>
          </a:blip>
          <a:srcRect/>
          <a:stretch/>
        </p:blipFill>
        <p:spPr>
          <a:xfrm>
            <a:off x="5426936" y="0"/>
            <a:ext cx="6745319" cy="6858000"/>
          </a:xfrm>
          <a:prstGeom prst="rect">
            <a:avLst/>
          </a:prstGeom>
        </p:spPr>
      </p:pic>
      <p:sp>
        <p:nvSpPr>
          <p:cNvPr id="7" name="Oval 6">
            <a:extLst>
              <a:ext uri="{FF2B5EF4-FFF2-40B4-BE49-F238E27FC236}">
                <a16:creationId xmlns:a16="http://schemas.microsoft.com/office/drawing/2014/main" id="{CB09E9E6-776E-4560-A6FA-569DC837CF93}"/>
              </a:ext>
            </a:extLst>
          </p:cNvPr>
          <p:cNvSpPr/>
          <p:nvPr/>
        </p:nvSpPr>
        <p:spPr bwMode="auto">
          <a:xfrm>
            <a:off x="-1" y="0"/>
            <a:ext cx="11189369"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955B71E-2142-4B84-AF3E-99785C9FB642}"/>
              </a:ext>
            </a:extLst>
          </p:cNvPr>
          <p:cNvSpPr>
            <a:spLocks noGrp="1"/>
          </p:cNvSpPr>
          <p:nvPr>
            <p:ph type="title"/>
          </p:nvPr>
        </p:nvSpPr>
        <p:spPr/>
        <p:txBody>
          <a:bodyPr vert="horz" wrap="square" lIns="0" tIns="0" rIns="0" bIns="0" rtlCol="0" anchor="t">
            <a:noAutofit/>
          </a:bodyPr>
          <a:lstStyle/>
          <a:p>
            <a:pPr>
              <a:lnSpc>
                <a:spcPct val="100000"/>
              </a:lnSpc>
            </a:pPr>
            <a:r>
              <a:rPr lang="en-US" sz="3200">
                <a:solidFill>
                  <a:schemeClr val="bg2"/>
                </a:solidFill>
              </a:rPr>
              <a:t>How </a:t>
            </a:r>
            <a:r>
              <a:rPr lang="en-US" sz="3200">
                <a:solidFill>
                  <a:schemeClr val="accent5"/>
                </a:solidFill>
              </a:rPr>
              <a:t>Device Update for IoT Hub</a:t>
            </a:r>
            <a:r>
              <a:rPr lang="en-US" sz="3200">
                <a:solidFill>
                  <a:schemeClr val="bg2"/>
                </a:solidFill>
              </a:rPr>
              <a:t> </a:t>
            </a:r>
            <a:br>
              <a:rPr lang="en-US" sz="3200">
                <a:solidFill>
                  <a:schemeClr val="bg2"/>
                </a:solidFill>
              </a:rPr>
            </a:br>
            <a:r>
              <a:rPr lang="en-US" sz="3200">
                <a:solidFill>
                  <a:schemeClr val="bg2"/>
                </a:solidFill>
              </a:rPr>
              <a:t>works in the real world</a:t>
            </a:r>
          </a:p>
        </p:txBody>
      </p:sp>
      <p:grpSp>
        <p:nvGrpSpPr>
          <p:cNvPr id="140" name="Group 139">
            <a:extLst>
              <a:ext uri="{FF2B5EF4-FFF2-40B4-BE49-F238E27FC236}">
                <a16:creationId xmlns:a16="http://schemas.microsoft.com/office/drawing/2014/main" id="{89330743-3377-43D9-B209-D43029C307C8}"/>
              </a:ext>
            </a:extLst>
          </p:cNvPr>
          <p:cNvGrpSpPr/>
          <p:nvPr/>
        </p:nvGrpSpPr>
        <p:grpSpPr>
          <a:xfrm>
            <a:off x="418970" y="4896855"/>
            <a:ext cx="962974" cy="1555996"/>
            <a:chOff x="418970" y="4896855"/>
            <a:chExt cx="962974" cy="1555996"/>
          </a:xfrm>
        </p:grpSpPr>
        <p:pic>
          <p:nvPicPr>
            <p:cNvPr id="50" name="Graphic 49">
              <a:extLst>
                <a:ext uri="{FF2B5EF4-FFF2-40B4-BE49-F238E27FC236}">
                  <a16:creationId xmlns:a16="http://schemas.microsoft.com/office/drawing/2014/main" id="{72970D36-EFDA-4474-8B2B-C720232E2B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8853" y="4896855"/>
              <a:ext cx="663210" cy="746112"/>
            </a:xfrm>
            <a:prstGeom prst="rect">
              <a:avLst/>
            </a:prstGeom>
          </p:spPr>
        </p:pic>
        <p:sp>
          <p:nvSpPr>
            <p:cNvPr id="51" name="Title 1">
              <a:extLst>
                <a:ext uri="{FF2B5EF4-FFF2-40B4-BE49-F238E27FC236}">
                  <a16:creationId xmlns:a16="http://schemas.microsoft.com/office/drawing/2014/main" id="{ACEB2BB3-DC29-46BF-AE6E-A91C3F5A22CC}"/>
                </a:ext>
              </a:extLst>
            </p:cNvPr>
            <p:cNvSpPr txBox="1">
              <a:spLocks/>
            </p:cNvSpPr>
            <p:nvPr/>
          </p:nvSpPr>
          <p:spPr>
            <a:xfrm>
              <a:off x="623362" y="5696562"/>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52" name="Title 1">
              <a:extLst>
                <a:ext uri="{FF2B5EF4-FFF2-40B4-BE49-F238E27FC236}">
                  <a16:creationId xmlns:a16="http://schemas.microsoft.com/office/drawing/2014/main" id="{14C67DC2-A2B8-4398-A15E-BC4297D271E2}"/>
                </a:ext>
              </a:extLst>
            </p:cNvPr>
            <p:cNvSpPr txBox="1">
              <a:spLocks/>
            </p:cNvSpPr>
            <p:nvPr/>
          </p:nvSpPr>
          <p:spPr>
            <a:xfrm>
              <a:off x="418970" y="6237407"/>
              <a:ext cx="962974"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ubscribe</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grpSp>
        <p:nvGrpSpPr>
          <p:cNvPr id="154" name="Group 153">
            <a:extLst>
              <a:ext uri="{FF2B5EF4-FFF2-40B4-BE49-F238E27FC236}">
                <a16:creationId xmlns:a16="http://schemas.microsoft.com/office/drawing/2014/main" id="{6E83F0DB-01CE-4074-98B0-B56DF5A9FF0E}"/>
              </a:ext>
            </a:extLst>
          </p:cNvPr>
          <p:cNvGrpSpPr/>
          <p:nvPr/>
        </p:nvGrpSpPr>
        <p:grpSpPr>
          <a:xfrm>
            <a:off x="1221762" y="3806033"/>
            <a:ext cx="1573782" cy="2113857"/>
            <a:chOff x="1221762" y="3806033"/>
            <a:chExt cx="1573782" cy="2113857"/>
          </a:xfrm>
        </p:grpSpPr>
        <p:grpSp>
          <p:nvGrpSpPr>
            <p:cNvPr id="141" name="Group 140">
              <a:extLst>
                <a:ext uri="{FF2B5EF4-FFF2-40B4-BE49-F238E27FC236}">
                  <a16:creationId xmlns:a16="http://schemas.microsoft.com/office/drawing/2014/main" id="{700C25FD-C1BB-4CF7-B1C0-D8CC8E6D50A5}"/>
                </a:ext>
              </a:extLst>
            </p:cNvPr>
            <p:cNvGrpSpPr/>
            <p:nvPr/>
          </p:nvGrpSpPr>
          <p:grpSpPr>
            <a:xfrm>
              <a:off x="1543816" y="3806033"/>
              <a:ext cx="1251728" cy="2113857"/>
              <a:chOff x="1731129" y="3806033"/>
              <a:chExt cx="1251728" cy="2113857"/>
            </a:xfrm>
          </p:grpSpPr>
          <p:pic>
            <p:nvPicPr>
              <p:cNvPr id="61" name="Graphic 60">
                <a:extLst>
                  <a:ext uri="{FF2B5EF4-FFF2-40B4-BE49-F238E27FC236}">
                    <a16:creationId xmlns:a16="http://schemas.microsoft.com/office/drawing/2014/main" id="{5815EB87-63BB-4E8F-953D-3C856ECCFA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21687" y="4090613"/>
                <a:ext cx="870612" cy="870615"/>
              </a:xfrm>
              <a:prstGeom prst="rect">
                <a:avLst/>
              </a:prstGeom>
            </p:spPr>
          </p:pic>
          <p:sp>
            <p:nvSpPr>
              <p:cNvPr id="66" name="Title 1">
                <a:extLst>
                  <a:ext uri="{FF2B5EF4-FFF2-40B4-BE49-F238E27FC236}">
                    <a16:creationId xmlns:a16="http://schemas.microsoft.com/office/drawing/2014/main" id="{CACF8CAA-B4FA-45B9-91BC-0B13FDFBA0CC}"/>
                  </a:ext>
                </a:extLst>
              </p:cNvPr>
              <p:cNvSpPr txBox="1">
                <a:spLocks/>
              </p:cNvSpPr>
              <p:nvPr/>
            </p:nvSpPr>
            <p:spPr>
              <a:xfrm>
                <a:off x="1731129" y="3806033"/>
                <a:ext cx="1251728" cy="1615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Device Update</a:t>
                </a:r>
                <a:endParaRPr kumimoji="0" lang="en-US" sz="700" b="0" i="1"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67" name="Title 1">
                <a:extLst>
                  <a:ext uri="{FF2B5EF4-FFF2-40B4-BE49-F238E27FC236}">
                    <a16:creationId xmlns:a16="http://schemas.microsoft.com/office/drawing/2014/main" id="{FAFEAD10-A132-4688-ACBB-2182AC8738C5}"/>
                  </a:ext>
                </a:extLst>
              </p:cNvPr>
              <p:cNvSpPr txBox="1">
                <a:spLocks/>
              </p:cNvSpPr>
              <p:nvPr/>
            </p:nvSpPr>
            <p:spPr>
              <a:xfrm>
                <a:off x="2079898" y="4948158"/>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8" name="Title 1">
                <a:extLst>
                  <a:ext uri="{FF2B5EF4-FFF2-40B4-BE49-F238E27FC236}">
                    <a16:creationId xmlns:a16="http://schemas.microsoft.com/office/drawing/2014/main" id="{471762E4-67AC-4E7F-8316-8C64AA66003D}"/>
                  </a:ext>
                </a:extLst>
              </p:cNvPr>
              <p:cNvSpPr txBox="1">
                <a:spLocks/>
              </p:cNvSpPr>
              <p:nvPr/>
            </p:nvSpPr>
            <p:spPr>
              <a:xfrm>
                <a:off x="2025966" y="5489003"/>
                <a:ext cx="662055"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anage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ccess</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cxnSp>
          <p:nvCxnSpPr>
            <p:cNvPr id="123" name="Straight Arrow Connector 122">
              <a:extLst>
                <a:ext uri="{FF2B5EF4-FFF2-40B4-BE49-F238E27FC236}">
                  <a16:creationId xmlns:a16="http://schemas.microsoft.com/office/drawing/2014/main" id="{1EB04B02-3B87-499B-BCD6-FBE51DB0A169}"/>
                </a:ext>
              </a:extLst>
            </p:cNvPr>
            <p:cNvCxnSpPr>
              <a:cxnSpLocks/>
            </p:cNvCxnSpPr>
            <p:nvPr/>
          </p:nvCxnSpPr>
          <p:spPr>
            <a:xfrm flipH="1">
              <a:off x="1221762" y="5221810"/>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5" name="Group 154">
            <a:extLst>
              <a:ext uri="{FF2B5EF4-FFF2-40B4-BE49-F238E27FC236}">
                <a16:creationId xmlns:a16="http://schemas.microsoft.com/office/drawing/2014/main" id="{1A77FD57-80BC-48E5-938B-720E9EC66470}"/>
              </a:ext>
            </a:extLst>
          </p:cNvPr>
          <p:cNvGrpSpPr/>
          <p:nvPr/>
        </p:nvGrpSpPr>
        <p:grpSpPr>
          <a:xfrm>
            <a:off x="2718771" y="3249676"/>
            <a:ext cx="1378780" cy="1988460"/>
            <a:chOff x="2718771" y="3249676"/>
            <a:chExt cx="1378780" cy="1988460"/>
          </a:xfrm>
        </p:grpSpPr>
        <p:grpSp>
          <p:nvGrpSpPr>
            <p:cNvPr id="142" name="Group 141">
              <a:extLst>
                <a:ext uri="{FF2B5EF4-FFF2-40B4-BE49-F238E27FC236}">
                  <a16:creationId xmlns:a16="http://schemas.microsoft.com/office/drawing/2014/main" id="{00D701CB-58CF-4FC7-B2C6-684D1F6F721F}"/>
                </a:ext>
              </a:extLst>
            </p:cNvPr>
            <p:cNvGrpSpPr/>
            <p:nvPr/>
          </p:nvGrpSpPr>
          <p:grpSpPr>
            <a:xfrm>
              <a:off x="3234213" y="3249676"/>
              <a:ext cx="863338" cy="1988460"/>
              <a:chOff x="3538629" y="3249676"/>
              <a:chExt cx="863338" cy="1988460"/>
            </a:xfrm>
          </p:grpSpPr>
          <p:sp>
            <p:nvSpPr>
              <p:cNvPr id="73" name="Title 1">
                <a:extLst>
                  <a:ext uri="{FF2B5EF4-FFF2-40B4-BE49-F238E27FC236}">
                    <a16:creationId xmlns:a16="http://schemas.microsoft.com/office/drawing/2014/main" id="{17A27745-D5B4-4A92-8A79-3A30BEE163DE}"/>
                  </a:ext>
                </a:extLst>
              </p:cNvPr>
              <p:cNvSpPr txBox="1">
                <a:spLocks/>
              </p:cNvSpPr>
              <p:nvPr/>
            </p:nvSpPr>
            <p:spPr>
              <a:xfrm>
                <a:off x="3538629" y="3249676"/>
                <a:ext cx="863338" cy="1615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IoT Hub</a:t>
                </a:r>
                <a:endParaRPr kumimoji="0" lang="en-US" sz="700" b="0" i="1"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74" name="Title 1">
                <a:extLst>
                  <a:ext uri="{FF2B5EF4-FFF2-40B4-BE49-F238E27FC236}">
                    <a16:creationId xmlns:a16="http://schemas.microsoft.com/office/drawing/2014/main" id="{E24614F3-3530-4473-9AA4-CE8FACCB5225}"/>
                  </a:ext>
                </a:extLst>
              </p:cNvPr>
              <p:cNvSpPr txBox="1">
                <a:spLocks/>
              </p:cNvSpPr>
              <p:nvPr/>
            </p:nvSpPr>
            <p:spPr>
              <a:xfrm>
                <a:off x="3693203" y="4266404"/>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75" name="Title 1">
                <a:extLst>
                  <a:ext uri="{FF2B5EF4-FFF2-40B4-BE49-F238E27FC236}">
                    <a16:creationId xmlns:a16="http://schemas.microsoft.com/office/drawing/2014/main" id="{33701451-8790-4847-AFA1-8E33B6262ACA}"/>
                  </a:ext>
                </a:extLst>
              </p:cNvPr>
              <p:cNvSpPr txBox="1">
                <a:spLocks/>
              </p:cNvSpPr>
              <p:nvPr/>
            </p:nvSpPr>
            <p:spPr>
              <a:xfrm>
                <a:off x="3622393" y="4807249"/>
                <a:ext cx="69581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asily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nect</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28" name="Graphic 71">
                <a:extLst>
                  <a:ext uri="{FF2B5EF4-FFF2-40B4-BE49-F238E27FC236}">
                    <a16:creationId xmlns:a16="http://schemas.microsoft.com/office/drawing/2014/main" id="{5264BB15-57B8-4DE4-889A-29473DA8A080}"/>
                  </a:ext>
                </a:extLst>
              </p:cNvPr>
              <p:cNvGrpSpPr/>
              <p:nvPr/>
            </p:nvGrpSpPr>
            <p:grpSpPr>
              <a:xfrm>
                <a:off x="3637854" y="3562058"/>
                <a:ext cx="664889" cy="657158"/>
                <a:chOff x="4788695" y="3185377"/>
                <a:chExt cx="963744" cy="952538"/>
              </a:xfrm>
            </p:grpSpPr>
            <p:sp>
              <p:nvSpPr>
                <p:cNvPr id="42" name="Freeform: Shape 41">
                  <a:extLst>
                    <a:ext uri="{FF2B5EF4-FFF2-40B4-BE49-F238E27FC236}">
                      <a16:creationId xmlns:a16="http://schemas.microsoft.com/office/drawing/2014/main" id="{D6F3688B-A66F-4A82-A64B-67525DA3E7B8}"/>
                    </a:ext>
                  </a:extLst>
                </p:cNvPr>
                <p:cNvSpPr/>
                <p:nvPr/>
              </p:nvSpPr>
              <p:spPr>
                <a:xfrm>
                  <a:off x="4939980" y="3314249"/>
                  <a:ext cx="666776" cy="649967"/>
                </a:xfrm>
                <a:custGeom>
                  <a:avLst/>
                  <a:gdLst>
                    <a:gd name="connsiteX0" fmla="*/ 666777 w 666776"/>
                    <a:gd name="connsiteY0" fmla="*/ 627554 h 649967"/>
                    <a:gd name="connsiteX1" fmla="*/ 481872 w 666776"/>
                    <a:gd name="connsiteY1" fmla="*/ 302571 h 649967"/>
                    <a:gd name="connsiteX2" fmla="*/ 459459 w 666776"/>
                    <a:gd name="connsiteY2" fmla="*/ 313777 h 649967"/>
                    <a:gd name="connsiteX3" fmla="*/ 476269 w 666776"/>
                    <a:gd name="connsiteY3" fmla="*/ 296968 h 649967"/>
                    <a:gd name="connsiteX4" fmla="*/ 263349 w 666776"/>
                    <a:gd name="connsiteY4" fmla="*/ 0 h 649967"/>
                    <a:gd name="connsiteX5" fmla="*/ 224127 w 666776"/>
                    <a:gd name="connsiteY5" fmla="*/ 28016 h 649967"/>
                    <a:gd name="connsiteX6" fmla="*/ 414634 w 666776"/>
                    <a:gd name="connsiteY6" fmla="*/ 291365 h 649967"/>
                    <a:gd name="connsiteX7" fmla="*/ 0 w 666776"/>
                    <a:gd name="connsiteY7" fmla="*/ 324984 h 649967"/>
                    <a:gd name="connsiteX8" fmla="*/ 5603 w 666776"/>
                    <a:gd name="connsiteY8" fmla="*/ 375412 h 649967"/>
                    <a:gd name="connsiteX9" fmla="*/ 414634 w 666776"/>
                    <a:gd name="connsiteY9" fmla="*/ 341793 h 649967"/>
                    <a:gd name="connsiteX10" fmla="*/ 280158 w 666776"/>
                    <a:gd name="connsiteY10" fmla="*/ 565920 h 649967"/>
                    <a:gd name="connsiteX11" fmla="*/ 319380 w 666776"/>
                    <a:gd name="connsiteY11" fmla="*/ 593935 h 649967"/>
                    <a:gd name="connsiteX12" fmla="*/ 459459 w 666776"/>
                    <a:gd name="connsiteY12" fmla="*/ 358603 h 649967"/>
                    <a:gd name="connsiteX13" fmla="*/ 621951 w 666776"/>
                    <a:gd name="connsiteY13" fmla="*/ 649967 h 64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76" h="649967">
                      <a:moveTo>
                        <a:pt x="666777" y="627554"/>
                      </a:moveTo>
                      <a:lnTo>
                        <a:pt x="481872" y="302571"/>
                      </a:lnTo>
                      <a:lnTo>
                        <a:pt x="459459" y="313777"/>
                      </a:lnTo>
                      <a:lnTo>
                        <a:pt x="476269" y="296968"/>
                      </a:lnTo>
                      <a:lnTo>
                        <a:pt x="263349" y="0"/>
                      </a:lnTo>
                      <a:lnTo>
                        <a:pt x="224127" y="28016"/>
                      </a:lnTo>
                      <a:lnTo>
                        <a:pt x="414634" y="291365"/>
                      </a:lnTo>
                      <a:lnTo>
                        <a:pt x="0" y="324984"/>
                      </a:lnTo>
                      <a:lnTo>
                        <a:pt x="5603" y="375412"/>
                      </a:lnTo>
                      <a:lnTo>
                        <a:pt x="414634" y="341793"/>
                      </a:lnTo>
                      <a:lnTo>
                        <a:pt x="280158" y="565920"/>
                      </a:lnTo>
                      <a:lnTo>
                        <a:pt x="319380" y="593935"/>
                      </a:lnTo>
                      <a:lnTo>
                        <a:pt x="459459" y="358603"/>
                      </a:lnTo>
                      <a:lnTo>
                        <a:pt x="621951" y="649967"/>
                      </a:lnTo>
                      <a:close/>
                    </a:path>
                  </a:pathLst>
                </a:custGeom>
                <a:solidFill>
                  <a:srgbClr val="949494"/>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aphic 71">
                  <a:extLst>
                    <a:ext uri="{FF2B5EF4-FFF2-40B4-BE49-F238E27FC236}">
                      <a16:creationId xmlns:a16="http://schemas.microsoft.com/office/drawing/2014/main" id="{5264BB15-57B8-4DE4-889A-29473DA8A080}"/>
                    </a:ext>
                  </a:extLst>
                </p:cNvPr>
                <p:cNvGrpSpPr/>
                <p:nvPr/>
              </p:nvGrpSpPr>
              <p:grpSpPr>
                <a:xfrm>
                  <a:off x="4788695" y="3185377"/>
                  <a:ext cx="963744" cy="952538"/>
                  <a:chOff x="4788695" y="3185377"/>
                  <a:chExt cx="963744" cy="952538"/>
                </a:xfrm>
                <a:solidFill>
                  <a:srgbClr val="949494"/>
                </a:solidFill>
              </p:grpSpPr>
              <p:sp>
                <p:nvSpPr>
                  <p:cNvPr id="86" name="Freeform: Shape 85">
                    <a:extLst>
                      <a:ext uri="{FF2B5EF4-FFF2-40B4-BE49-F238E27FC236}">
                        <a16:creationId xmlns:a16="http://schemas.microsoft.com/office/drawing/2014/main" id="{CE0C4811-80AC-4A46-A357-9D3822877534}"/>
                      </a:ext>
                    </a:extLst>
                  </p:cNvPr>
                  <p:cNvSpPr/>
                  <p:nvPr/>
                </p:nvSpPr>
                <p:spPr>
                  <a:xfrm>
                    <a:off x="5472281" y="3185377"/>
                    <a:ext cx="280158" cy="274555"/>
                  </a:xfrm>
                  <a:custGeom>
                    <a:avLst/>
                    <a:gdLst>
                      <a:gd name="connsiteX0" fmla="*/ 274555 w 280158"/>
                      <a:gd name="connsiteY0" fmla="*/ 39222 h 274555"/>
                      <a:gd name="connsiteX1" fmla="*/ 274555 w 280158"/>
                      <a:gd name="connsiteY1" fmla="*/ 39222 h 274555"/>
                      <a:gd name="connsiteX2" fmla="*/ 235333 w 280158"/>
                      <a:gd name="connsiteY2" fmla="*/ 0 h 274555"/>
                      <a:gd name="connsiteX3" fmla="*/ 235333 w 280158"/>
                      <a:gd name="connsiteY3" fmla="*/ 0 h 274555"/>
                      <a:gd name="connsiteX4" fmla="*/ 22413 w 280158"/>
                      <a:gd name="connsiteY4" fmla="*/ 0 h 274555"/>
                      <a:gd name="connsiteX5" fmla="*/ 0 w 280158"/>
                      <a:gd name="connsiteY5" fmla="*/ 22413 h 274555"/>
                      <a:gd name="connsiteX6" fmla="*/ 0 w 280158"/>
                      <a:gd name="connsiteY6" fmla="*/ 100857 h 274555"/>
                      <a:gd name="connsiteX7" fmla="*/ 22413 w 280158"/>
                      <a:gd name="connsiteY7" fmla="*/ 123270 h 274555"/>
                      <a:gd name="connsiteX8" fmla="*/ 156889 w 280158"/>
                      <a:gd name="connsiteY8" fmla="*/ 123270 h 274555"/>
                      <a:gd name="connsiteX9" fmla="*/ 156889 w 280158"/>
                      <a:gd name="connsiteY9" fmla="*/ 252142 h 274555"/>
                      <a:gd name="connsiteX10" fmla="*/ 179301 w 280158"/>
                      <a:gd name="connsiteY10" fmla="*/ 274555 h 274555"/>
                      <a:gd name="connsiteX11" fmla="*/ 257746 w 280158"/>
                      <a:gd name="connsiteY11" fmla="*/ 274555 h 274555"/>
                      <a:gd name="connsiteX12" fmla="*/ 280158 w 280158"/>
                      <a:gd name="connsiteY12" fmla="*/ 252142 h 274555"/>
                      <a:gd name="connsiteX13" fmla="*/ 274555 w 280158"/>
                      <a:gd name="connsiteY13" fmla="*/ 39222 h 274555"/>
                      <a:gd name="connsiteX14" fmla="*/ 274555 w 280158"/>
                      <a:gd name="connsiteY14" fmla="*/ 39222 h 27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158" h="274555">
                        <a:moveTo>
                          <a:pt x="274555" y="39222"/>
                        </a:moveTo>
                        <a:lnTo>
                          <a:pt x="274555" y="39222"/>
                        </a:lnTo>
                        <a:cubicBezTo>
                          <a:pt x="274555" y="16809"/>
                          <a:pt x="257746" y="0"/>
                          <a:pt x="235333" y="0"/>
                        </a:cubicBezTo>
                        <a:cubicBezTo>
                          <a:pt x="235333" y="0"/>
                          <a:pt x="235333" y="0"/>
                          <a:pt x="235333" y="0"/>
                        </a:cubicBezTo>
                        <a:lnTo>
                          <a:pt x="22413" y="0"/>
                        </a:lnTo>
                        <a:cubicBezTo>
                          <a:pt x="11206" y="0"/>
                          <a:pt x="0" y="11206"/>
                          <a:pt x="0" y="22413"/>
                        </a:cubicBezTo>
                        <a:lnTo>
                          <a:pt x="0" y="100857"/>
                        </a:lnTo>
                        <a:cubicBezTo>
                          <a:pt x="0" y="112063"/>
                          <a:pt x="11206" y="123270"/>
                          <a:pt x="22413" y="123270"/>
                        </a:cubicBezTo>
                        <a:lnTo>
                          <a:pt x="156889" y="123270"/>
                        </a:lnTo>
                        <a:lnTo>
                          <a:pt x="156889" y="252142"/>
                        </a:lnTo>
                        <a:cubicBezTo>
                          <a:pt x="156889" y="263349"/>
                          <a:pt x="168095" y="274555"/>
                          <a:pt x="179301" y="274555"/>
                        </a:cubicBezTo>
                        <a:lnTo>
                          <a:pt x="257746" y="274555"/>
                        </a:lnTo>
                        <a:cubicBezTo>
                          <a:pt x="268952" y="274555"/>
                          <a:pt x="280158" y="263349"/>
                          <a:pt x="280158" y="252142"/>
                        </a:cubicBezTo>
                        <a:lnTo>
                          <a:pt x="274555" y="39222"/>
                        </a:lnTo>
                        <a:lnTo>
                          <a:pt x="274555" y="39222"/>
                        </a:lnTo>
                        <a:close/>
                      </a:path>
                    </a:pathLst>
                  </a:custGeom>
                  <a:solidFill>
                    <a:schemeClr val="bg1"/>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14B1DE0-FDEC-4CE9-8637-B469B2CEED35}"/>
                      </a:ext>
                    </a:extLst>
                  </p:cNvPr>
                  <p:cNvSpPr/>
                  <p:nvPr/>
                </p:nvSpPr>
                <p:spPr>
                  <a:xfrm>
                    <a:off x="4788695" y="3868963"/>
                    <a:ext cx="274555" cy="268951"/>
                  </a:xfrm>
                  <a:custGeom>
                    <a:avLst/>
                    <a:gdLst>
                      <a:gd name="connsiteX0" fmla="*/ 252142 w 274555"/>
                      <a:gd name="connsiteY0" fmla="*/ 151285 h 268951"/>
                      <a:gd name="connsiteX1" fmla="*/ 117666 w 274555"/>
                      <a:gd name="connsiteY1" fmla="*/ 151285 h 268951"/>
                      <a:gd name="connsiteX2" fmla="*/ 117666 w 274555"/>
                      <a:gd name="connsiteY2" fmla="*/ 22413 h 268951"/>
                      <a:gd name="connsiteX3" fmla="*/ 95254 w 274555"/>
                      <a:gd name="connsiteY3" fmla="*/ 0 h 268951"/>
                      <a:gd name="connsiteX4" fmla="*/ 22413 w 274555"/>
                      <a:gd name="connsiteY4" fmla="*/ 0 h 268951"/>
                      <a:gd name="connsiteX5" fmla="*/ 0 w 274555"/>
                      <a:gd name="connsiteY5" fmla="*/ 22413 h 268951"/>
                      <a:gd name="connsiteX6" fmla="*/ 0 w 274555"/>
                      <a:gd name="connsiteY6" fmla="*/ 229730 h 268951"/>
                      <a:gd name="connsiteX7" fmla="*/ 0 w 274555"/>
                      <a:gd name="connsiteY7" fmla="*/ 229730 h 268951"/>
                      <a:gd name="connsiteX8" fmla="*/ 39222 w 274555"/>
                      <a:gd name="connsiteY8" fmla="*/ 268952 h 268951"/>
                      <a:gd name="connsiteX9" fmla="*/ 252142 w 274555"/>
                      <a:gd name="connsiteY9" fmla="*/ 268952 h 268951"/>
                      <a:gd name="connsiteX10" fmla="*/ 274555 w 274555"/>
                      <a:gd name="connsiteY10" fmla="*/ 246539 h 268951"/>
                      <a:gd name="connsiteX11" fmla="*/ 274555 w 274555"/>
                      <a:gd name="connsiteY11" fmla="*/ 246539 h 268951"/>
                      <a:gd name="connsiteX12" fmla="*/ 274555 w 274555"/>
                      <a:gd name="connsiteY12" fmla="*/ 168095 h 268951"/>
                      <a:gd name="connsiteX13" fmla="*/ 252142 w 274555"/>
                      <a:gd name="connsiteY13" fmla="*/ 151285 h 26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555" h="268951">
                        <a:moveTo>
                          <a:pt x="252142" y="151285"/>
                        </a:moveTo>
                        <a:lnTo>
                          <a:pt x="117666" y="151285"/>
                        </a:lnTo>
                        <a:lnTo>
                          <a:pt x="117666" y="22413"/>
                        </a:lnTo>
                        <a:cubicBezTo>
                          <a:pt x="117666" y="11206"/>
                          <a:pt x="106460" y="0"/>
                          <a:pt x="95254" y="0"/>
                        </a:cubicBezTo>
                        <a:lnTo>
                          <a:pt x="22413" y="0"/>
                        </a:lnTo>
                        <a:cubicBezTo>
                          <a:pt x="11206" y="0"/>
                          <a:pt x="0" y="11206"/>
                          <a:pt x="0" y="22413"/>
                        </a:cubicBezTo>
                        <a:lnTo>
                          <a:pt x="0" y="229730"/>
                        </a:lnTo>
                        <a:lnTo>
                          <a:pt x="0" y="229730"/>
                        </a:lnTo>
                        <a:cubicBezTo>
                          <a:pt x="0" y="252142"/>
                          <a:pt x="16809" y="268952"/>
                          <a:pt x="39222" y="268952"/>
                        </a:cubicBezTo>
                        <a:lnTo>
                          <a:pt x="252142" y="268952"/>
                        </a:lnTo>
                        <a:cubicBezTo>
                          <a:pt x="263349" y="268952"/>
                          <a:pt x="274555" y="257746"/>
                          <a:pt x="274555" y="246539"/>
                        </a:cubicBezTo>
                        <a:lnTo>
                          <a:pt x="274555" y="246539"/>
                        </a:lnTo>
                        <a:lnTo>
                          <a:pt x="274555" y="168095"/>
                        </a:lnTo>
                        <a:cubicBezTo>
                          <a:pt x="274555" y="156889"/>
                          <a:pt x="263349" y="151285"/>
                          <a:pt x="252142" y="151285"/>
                        </a:cubicBezTo>
                        <a:close/>
                      </a:path>
                    </a:pathLst>
                  </a:custGeom>
                  <a:solidFill>
                    <a:schemeClr val="bg1"/>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8" name="Freeform: Shape 87">
                  <a:extLst>
                    <a:ext uri="{FF2B5EF4-FFF2-40B4-BE49-F238E27FC236}">
                      <a16:creationId xmlns:a16="http://schemas.microsoft.com/office/drawing/2014/main" id="{3085350C-4534-4051-AAB1-D22164BC1AA8}"/>
                    </a:ext>
                  </a:extLst>
                </p:cNvPr>
                <p:cNvSpPr/>
                <p:nvPr/>
              </p:nvSpPr>
              <p:spPr>
                <a:xfrm>
                  <a:off x="4888141" y="3241408"/>
                  <a:ext cx="806855" cy="806855"/>
                </a:xfrm>
                <a:custGeom>
                  <a:avLst/>
                  <a:gdLst>
                    <a:gd name="connsiteX0" fmla="*/ 532301 w 806855"/>
                    <a:gd name="connsiteY0" fmla="*/ 280158 h 806855"/>
                    <a:gd name="connsiteX1" fmla="*/ 644364 w 806855"/>
                    <a:gd name="connsiteY1" fmla="*/ 392222 h 806855"/>
                    <a:gd name="connsiteX2" fmla="*/ 532301 w 806855"/>
                    <a:gd name="connsiteY2" fmla="*/ 504285 h 806855"/>
                    <a:gd name="connsiteX3" fmla="*/ 420237 w 806855"/>
                    <a:gd name="connsiteY3" fmla="*/ 392222 h 806855"/>
                    <a:gd name="connsiteX4" fmla="*/ 420237 w 806855"/>
                    <a:gd name="connsiteY4" fmla="*/ 392222 h 806855"/>
                    <a:gd name="connsiteX5" fmla="*/ 532301 w 806855"/>
                    <a:gd name="connsiteY5" fmla="*/ 280158 h 806855"/>
                    <a:gd name="connsiteX6" fmla="*/ 229730 w 806855"/>
                    <a:gd name="connsiteY6" fmla="*/ 89651 h 806855"/>
                    <a:gd name="connsiteX7" fmla="*/ 324984 w 806855"/>
                    <a:gd name="connsiteY7" fmla="*/ 184904 h 806855"/>
                    <a:gd name="connsiteX8" fmla="*/ 420237 w 806855"/>
                    <a:gd name="connsiteY8" fmla="*/ 89651 h 806855"/>
                    <a:gd name="connsiteX9" fmla="*/ 324984 w 806855"/>
                    <a:gd name="connsiteY9" fmla="*/ 0 h 806855"/>
                    <a:gd name="connsiteX10" fmla="*/ 324984 w 806855"/>
                    <a:gd name="connsiteY10" fmla="*/ 0 h 806855"/>
                    <a:gd name="connsiteX11" fmla="*/ 229730 w 806855"/>
                    <a:gd name="connsiteY11" fmla="*/ 89651 h 806855"/>
                    <a:gd name="connsiteX12" fmla="*/ 0 w 806855"/>
                    <a:gd name="connsiteY12" fmla="*/ 431444 h 806855"/>
                    <a:gd name="connsiteX13" fmla="*/ 72841 w 806855"/>
                    <a:gd name="connsiteY13" fmla="*/ 504285 h 806855"/>
                    <a:gd name="connsiteX14" fmla="*/ 145682 w 806855"/>
                    <a:gd name="connsiteY14" fmla="*/ 431444 h 806855"/>
                    <a:gd name="connsiteX15" fmla="*/ 72841 w 806855"/>
                    <a:gd name="connsiteY15" fmla="*/ 358603 h 806855"/>
                    <a:gd name="connsiteX16" fmla="*/ 0 w 806855"/>
                    <a:gd name="connsiteY16" fmla="*/ 431444 h 806855"/>
                    <a:gd name="connsiteX17" fmla="*/ 0 w 806855"/>
                    <a:gd name="connsiteY17" fmla="*/ 431444 h 806855"/>
                    <a:gd name="connsiteX18" fmla="*/ 302571 w 806855"/>
                    <a:gd name="connsiteY18" fmla="*/ 655570 h 806855"/>
                    <a:gd name="connsiteX19" fmla="*/ 375412 w 806855"/>
                    <a:gd name="connsiteY19" fmla="*/ 728411 h 806855"/>
                    <a:gd name="connsiteX20" fmla="*/ 448253 w 806855"/>
                    <a:gd name="connsiteY20" fmla="*/ 655570 h 806855"/>
                    <a:gd name="connsiteX21" fmla="*/ 375412 w 806855"/>
                    <a:gd name="connsiteY21" fmla="*/ 582729 h 806855"/>
                    <a:gd name="connsiteX22" fmla="*/ 375412 w 806855"/>
                    <a:gd name="connsiteY22" fmla="*/ 582729 h 806855"/>
                    <a:gd name="connsiteX23" fmla="*/ 302571 w 806855"/>
                    <a:gd name="connsiteY23" fmla="*/ 655570 h 806855"/>
                    <a:gd name="connsiteX24" fmla="*/ 302571 w 806855"/>
                    <a:gd name="connsiteY24" fmla="*/ 655570 h 806855"/>
                    <a:gd name="connsiteX25" fmla="*/ 633158 w 806855"/>
                    <a:gd name="connsiteY25" fmla="*/ 717205 h 806855"/>
                    <a:gd name="connsiteX26" fmla="*/ 717205 w 806855"/>
                    <a:gd name="connsiteY26" fmla="*/ 806856 h 806855"/>
                    <a:gd name="connsiteX27" fmla="*/ 806856 w 806855"/>
                    <a:gd name="connsiteY27" fmla="*/ 722808 h 806855"/>
                    <a:gd name="connsiteX28" fmla="*/ 722808 w 806855"/>
                    <a:gd name="connsiteY28" fmla="*/ 633158 h 806855"/>
                    <a:gd name="connsiteX29" fmla="*/ 722808 w 806855"/>
                    <a:gd name="connsiteY29" fmla="*/ 633158 h 806855"/>
                    <a:gd name="connsiteX30" fmla="*/ 633158 w 806855"/>
                    <a:gd name="connsiteY30" fmla="*/ 717205 h 806855"/>
                    <a:gd name="connsiteX31" fmla="*/ 633158 w 806855"/>
                    <a:gd name="connsiteY31" fmla="*/ 717205 h 80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6855" h="806855">
                      <a:moveTo>
                        <a:pt x="532301" y="280158"/>
                      </a:moveTo>
                      <a:cubicBezTo>
                        <a:pt x="593935" y="280158"/>
                        <a:pt x="644364" y="330587"/>
                        <a:pt x="644364" y="392222"/>
                      </a:cubicBezTo>
                      <a:cubicBezTo>
                        <a:pt x="644364" y="453856"/>
                        <a:pt x="593935" y="504285"/>
                        <a:pt x="532301" y="504285"/>
                      </a:cubicBezTo>
                      <a:cubicBezTo>
                        <a:pt x="470666" y="504285"/>
                        <a:pt x="420237" y="453856"/>
                        <a:pt x="420237" y="392222"/>
                      </a:cubicBezTo>
                      <a:cubicBezTo>
                        <a:pt x="420237" y="392222"/>
                        <a:pt x="420237" y="392222"/>
                        <a:pt x="420237" y="392222"/>
                      </a:cubicBezTo>
                      <a:cubicBezTo>
                        <a:pt x="425841" y="330587"/>
                        <a:pt x="470666" y="280158"/>
                        <a:pt x="532301" y="280158"/>
                      </a:cubicBezTo>
                      <a:close/>
                      <a:moveTo>
                        <a:pt x="229730" y="89651"/>
                      </a:moveTo>
                      <a:cubicBezTo>
                        <a:pt x="229730" y="140079"/>
                        <a:pt x="268952" y="184904"/>
                        <a:pt x="324984" y="184904"/>
                      </a:cubicBezTo>
                      <a:cubicBezTo>
                        <a:pt x="375412" y="184904"/>
                        <a:pt x="420237" y="145682"/>
                        <a:pt x="420237" y="89651"/>
                      </a:cubicBezTo>
                      <a:cubicBezTo>
                        <a:pt x="420237" y="33619"/>
                        <a:pt x="375412" y="0"/>
                        <a:pt x="324984" y="0"/>
                      </a:cubicBezTo>
                      <a:cubicBezTo>
                        <a:pt x="324984" y="0"/>
                        <a:pt x="324984" y="0"/>
                        <a:pt x="324984" y="0"/>
                      </a:cubicBezTo>
                      <a:cubicBezTo>
                        <a:pt x="274555" y="0"/>
                        <a:pt x="229730" y="39222"/>
                        <a:pt x="229730" y="89651"/>
                      </a:cubicBezTo>
                      <a:close/>
                      <a:moveTo>
                        <a:pt x="0" y="431444"/>
                      </a:moveTo>
                      <a:cubicBezTo>
                        <a:pt x="0" y="470666"/>
                        <a:pt x="33619" y="504285"/>
                        <a:pt x="72841" y="504285"/>
                      </a:cubicBezTo>
                      <a:cubicBezTo>
                        <a:pt x="112063" y="504285"/>
                        <a:pt x="145682" y="470666"/>
                        <a:pt x="145682" y="431444"/>
                      </a:cubicBezTo>
                      <a:cubicBezTo>
                        <a:pt x="145682" y="392222"/>
                        <a:pt x="112063" y="358603"/>
                        <a:pt x="72841" y="358603"/>
                      </a:cubicBezTo>
                      <a:cubicBezTo>
                        <a:pt x="33619" y="358603"/>
                        <a:pt x="0" y="386618"/>
                        <a:pt x="0" y="431444"/>
                      </a:cubicBezTo>
                      <a:lnTo>
                        <a:pt x="0" y="431444"/>
                      </a:lnTo>
                      <a:close/>
                      <a:moveTo>
                        <a:pt x="302571" y="655570"/>
                      </a:moveTo>
                      <a:cubicBezTo>
                        <a:pt x="302571" y="694792"/>
                        <a:pt x="336190" y="728411"/>
                        <a:pt x="375412" y="728411"/>
                      </a:cubicBezTo>
                      <a:cubicBezTo>
                        <a:pt x="414634" y="728411"/>
                        <a:pt x="448253" y="694792"/>
                        <a:pt x="448253" y="655570"/>
                      </a:cubicBezTo>
                      <a:cubicBezTo>
                        <a:pt x="448253" y="616348"/>
                        <a:pt x="414634" y="582729"/>
                        <a:pt x="375412" y="582729"/>
                      </a:cubicBezTo>
                      <a:cubicBezTo>
                        <a:pt x="375412" y="582729"/>
                        <a:pt x="375412" y="582729"/>
                        <a:pt x="375412" y="582729"/>
                      </a:cubicBezTo>
                      <a:cubicBezTo>
                        <a:pt x="336190" y="582729"/>
                        <a:pt x="302571" y="616348"/>
                        <a:pt x="302571" y="655570"/>
                      </a:cubicBezTo>
                      <a:cubicBezTo>
                        <a:pt x="302571" y="655570"/>
                        <a:pt x="302571" y="655570"/>
                        <a:pt x="302571" y="655570"/>
                      </a:cubicBezTo>
                      <a:close/>
                      <a:moveTo>
                        <a:pt x="633158" y="717205"/>
                      </a:moveTo>
                      <a:cubicBezTo>
                        <a:pt x="633158" y="767634"/>
                        <a:pt x="672380" y="806856"/>
                        <a:pt x="717205" y="806856"/>
                      </a:cubicBezTo>
                      <a:cubicBezTo>
                        <a:pt x="762030" y="806856"/>
                        <a:pt x="806856" y="767634"/>
                        <a:pt x="806856" y="722808"/>
                      </a:cubicBezTo>
                      <a:cubicBezTo>
                        <a:pt x="806856" y="672380"/>
                        <a:pt x="767634" y="633158"/>
                        <a:pt x="722808" y="633158"/>
                      </a:cubicBezTo>
                      <a:cubicBezTo>
                        <a:pt x="722808" y="633158"/>
                        <a:pt x="722808" y="633158"/>
                        <a:pt x="722808" y="633158"/>
                      </a:cubicBezTo>
                      <a:cubicBezTo>
                        <a:pt x="672380" y="627554"/>
                        <a:pt x="633158" y="666777"/>
                        <a:pt x="633158" y="717205"/>
                      </a:cubicBezTo>
                      <a:cubicBezTo>
                        <a:pt x="633158" y="717205"/>
                        <a:pt x="633158" y="717205"/>
                        <a:pt x="633158" y="717205"/>
                      </a:cubicBezTo>
                      <a:close/>
                    </a:path>
                  </a:pathLst>
                </a:custGeom>
                <a:solidFill>
                  <a:schemeClr val="accent5"/>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125" name="Straight Arrow Connector 124">
              <a:extLst>
                <a:ext uri="{FF2B5EF4-FFF2-40B4-BE49-F238E27FC236}">
                  <a16:creationId xmlns:a16="http://schemas.microsoft.com/office/drawing/2014/main" id="{1EBD8156-CA6F-45F7-BC63-53DE6A04C2D9}"/>
                </a:ext>
              </a:extLst>
            </p:cNvPr>
            <p:cNvCxnSpPr>
              <a:cxnSpLocks/>
            </p:cNvCxnSpPr>
            <p:nvPr/>
          </p:nvCxnSpPr>
          <p:spPr>
            <a:xfrm flipH="1">
              <a:off x="2718771" y="4525735"/>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6" name="Group 155">
            <a:extLst>
              <a:ext uri="{FF2B5EF4-FFF2-40B4-BE49-F238E27FC236}">
                <a16:creationId xmlns:a16="http://schemas.microsoft.com/office/drawing/2014/main" id="{9401FC30-C91F-4D28-BC22-FC1589E7D92F}"/>
              </a:ext>
            </a:extLst>
          </p:cNvPr>
          <p:cNvGrpSpPr/>
          <p:nvPr/>
        </p:nvGrpSpPr>
        <p:grpSpPr>
          <a:xfrm>
            <a:off x="4142439" y="2970900"/>
            <a:ext cx="1716800" cy="1841886"/>
            <a:chOff x="4142439" y="2970900"/>
            <a:chExt cx="1716800" cy="1841886"/>
          </a:xfrm>
        </p:grpSpPr>
        <p:grpSp>
          <p:nvGrpSpPr>
            <p:cNvPr id="143" name="Group 142">
              <a:extLst>
                <a:ext uri="{FF2B5EF4-FFF2-40B4-BE49-F238E27FC236}">
                  <a16:creationId xmlns:a16="http://schemas.microsoft.com/office/drawing/2014/main" id="{00FB0384-9AD6-4DA2-992B-C92A00064742}"/>
                </a:ext>
              </a:extLst>
            </p:cNvPr>
            <p:cNvGrpSpPr/>
            <p:nvPr/>
          </p:nvGrpSpPr>
          <p:grpSpPr>
            <a:xfrm>
              <a:off x="4480377" y="2970900"/>
              <a:ext cx="1378862" cy="1841886"/>
              <a:chOff x="4715842" y="2970900"/>
              <a:chExt cx="1378862" cy="1841886"/>
            </a:xfrm>
          </p:grpSpPr>
          <p:sp>
            <p:nvSpPr>
              <p:cNvPr id="77" name="Title 1">
                <a:extLst>
                  <a:ext uri="{FF2B5EF4-FFF2-40B4-BE49-F238E27FC236}">
                    <a16:creationId xmlns:a16="http://schemas.microsoft.com/office/drawing/2014/main" id="{BA230181-F547-45C7-B59E-26A76BB39512}"/>
                  </a:ext>
                </a:extLst>
              </p:cNvPr>
              <p:cNvSpPr txBox="1">
                <a:spLocks/>
              </p:cNvSpPr>
              <p:nvPr/>
            </p:nvSpPr>
            <p:spPr>
              <a:xfrm>
                <a:off x="5128178" y="362561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78" name="Title 1">
                <a:extLst>
                  <a:ext uri="{FF2B5EF4-FFF2-40B4-BE49-F238E27FC236}">
                    <a16:creationId xmlns:a16="http://schemas.microsoft.com/office/drawing/2014/main" id="{E9A730B6-5C57-4825-993E-82D1C24EE20A}"/>
                  </a:ext>
                </a:extLst>
              </p:cNvPr>
              <p:cNvSpPr txBox="1">
                <a:spLocks/>
              </p:cNvSpPr>
              <p:nvPr/>
            </p:nvSpPr>
            <p:spPr>
              <a:xfrm>
                <a:off x="4715842" y="4166455"/>
                <a:ext cx="1378862"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ovision devices with D</a:t>
                </a:r>
                <a:r>
                  <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rPr>
                  <a:t>evice</a:t>
                </a: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Update agent</a:t>
                </a:r>
              </a:p>
            </p:txBody>
          </p:sp>
          <p:grpSp>
            <p:nvGrpSpPr>
              <p:cNvPr id="89" name="Graphic 17">
                <a:extLst>
                  <a:ext uri="{FF2B5EF4-FFF2-40B4-BE49-F238E27FC236}">
                    <a16:creationId xmlns:a16="http://schemas.microsoft.com/office/drawing/2014/main" id="{ED37C981-7D3B-4C68-8B80-0B0E5CE01137}"/>
                  </a:ext>
                </a:extLst>
              </p:cNvPr>
              <p:cNvGrpSpPr/>
              <p:nvPr/>
            </p:nvGrpSpPr>
            <p:grpSpPr>
              <a:xfrm>
                <a:off x="5079078" y="2970900"/>
                <a:ext cx="652391" cy="690767"/>
                <a:chOff x="6355434" y="1306815"/>
                <a:chExt cx="877315" cy="928922"/>
              </a:xfrm>
            </p:grpSpPr>
            <p:grpSp>
              <p:nvGrpSpPr>
                <p:cNvPr id="90" name="Graphic 17">
                  <a:extLst>
                    <a:ext uri="{FF2B5EF4-FFF2-40B4-BE49-F238E27FC236}">
                      <a16:creationId xmlns:a16="http://schemas.microsoft.com/office/drawing/2014/main" id="{ED37C981-7D3B-4C68-8B80-0B0E5CE01137}"/>
                    </a:ext>
                  </a:extLst>
                </p:cNvPr>
                <p:cNvGrpSpPr/>
                <p:nvPr/>
              </p:nvGrpSpPr>
              <p:grpSpPr>
                <a:xfrm>
                  <a:off x="6489611" y="1446153"/>
                  <a:ext cx="541871" cy="541871"/>
                  <a:chOff x="6489611" y="1446153"/>
                  <a:chExt cx="541871" cy="541871"/>
                </a:xfrm>
                <a:solidFill>
                  <a:srgbClr val="FFFFFF"/>
                </a:solidFill>
              </p:grpSpPr>
              <p:sp>
                <p:nvSpPr>
                  <p:cNvPr id="91" name="Freeform: Shape 90">
                    <a:extLst>
                      <a:ext uri="{FF2B5EF4-FFF2-40B4-BE49-F238E27FC236}">
                        <a16:creationId xmlns:a16="http://schemas.microsoft.com/office/drawing/2014/main" id="{50B8917B-4E4C-4EF0-AB63-4046695C5ECB}"/>
                      </a:ext>
                    </a:extLst>
                  </p:cNvPr>
                  <p:cNvSpPr/>
                  <p:nvPr/>
                </p:nvSpPr>
                <p:spPr>
                  <a:xfrm>
                    <a:off x="6778609" y="1637098"/>
                    <a:ext cx="144498" cy="144498"/>
                  </a:xfrm>
                  <a:custGeom>
                    <a:avLst/>
                    <a:gdLst>
                      <a:gd name="connsiteX0" fmla="*/ 144499 w 144498"/>
                      <a:gd name="connsiteY0" fmla="*/ 72250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50"/>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DAB02DB1-E709-4F26-9DBD-8454B7505A77}"/>
                      </a:ext>
                    </a:extLst>
                  </p:cNvPr>
                  <p:cNvSpPr/>
                  <p:nvPr/>
                </p:nvSpPr>
                <p:spPr>
                  <a:xfrm>
                    <a:off x="6917947" y="1874489"/>
                    <a:ext cx="113534" cy="113534"/>
                  </a:xfrm>
                  <a:custGeom>
                    <a:avLst/>
                    <a:gdLst>
                      <a:gd name="connsiteX0" fmla="*/ 113535 w 113534"/>
                      <a:gd name="connsiteY0" fmla="*/ 56767 h 113534"/>
                      <a:gd name="connsiteX1" fmla="*/ 56767 w 113534"/>
                      <a:gd name="connsiteY1" fmla="*/ 113535 h 113534"/>
                      <a:gd name="connsiteX2" fmla="*/ 0 w 113534"/>
                      <a:gd name="connsiteY2" fmla="*/ 56767 h 113534"/>
                      <a:gd name="connsiteX3" fmla="*/ 56767 w 113534"/>
                      <a:gd name="connsiteY3" fmla="*/ 0 h 113534"/>
                      <a:gd name="connsiteX4" fmla="*/ 113535 w 113534"/>
                      <a:gd name="connsiteY4" fmla="*/ 56767 h 11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34" h="113534">
                        <a:moveTo>
                          <a:pt x="113535" y="56767"/>
                        </a:moveTo>
                        <a:cubicBezTo>
                          <a:pt x="113535" y="88119"/>
                          <a:pt x="88119" y="113535"/>
                          <a:pt x="56767" y="113535"/>
                        </a:cubicBezTo>
                        <a:cubicBezTo>
                          <a:pt x="25416" y="113535"/>
                          <a:pt x="0" y="88119"/>
                          <a:pt x="0" y="56767"/>
                        </a:cubicBezTo>
                        <a:cubicBezTo>
                          <a:pt x="0" y="25416"/>
                          <a:pt x="25416" y="0"/>
                          <a:pt x="56767" y="0"/>
                        </a:cubicBezTo>
                        <a:cubicBezTo>
                          <a:pt x="88119" y="0"/>
                          <a:pt x="113535" y="25416"/>
                          <a:pt x="113535" y="5676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F8BFF7C-2E69-4E68-A2F7-98341B0C05A1}"/>
                      </a:ext>
                    </a:extLst>
                  </p:cNvPr>
                  <p:cNvSpPr/>
                  <p:nvPr/>
                </p:nvSpPr>
                <p:spPr>
                  <a:xfrm>
                    <a:off x="6690877" y="183836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B748E3CA-60BE-4068-8E92-A0C1D08D61E1}"/>
                      </a:ext>
                    </a:extLst>
                  </p:cNvPr>
                  <p:cNvSpPr/>
                  <p:nvPr/>
                </p:nvSpPr>
                <p:spPr>
                  <a:xfrm>
                    <a:off x="6644431" y="1446153"/>
                    <a:ext cx="123856" cy="123856"/>
                  </a:xfrm>
                  <a:custGeom>
                    <a:avLst/>
                    <a:gdLst>
                      <a:gd name="connsiteX0" fmla="*/ 123856 w 123856"/>
                      <a:gd name="connsiteY0" fmla="*/ 61928 h 123856"/>
                      <a:gd name="connsiteX1" fmla="*/ 61928 w 123856"/>
                      <a:gd name="connsiteY1" fmla="*/ 123856 h 123856"/>
                      <a:gd name="connsiteX2" fmla="*/ 0 w 123856"/>
                      <a:gd name="connsiteY2" fmla="*/ 61928 h 123856"/>
                      <a:gd name="connsiteX3" fmla="*/ 61928 w 123856"/>
                      <a:gd name="connsiteY3" fmla="*/ 0 h 123856"/>
                      <a:gd name="connsiteX4" fmla="*/ 123856 w 123856"/>
                      <a:gd name="connsiteY4" fmla="*/ 61928 h 123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56" h="123856">
                        <a:moveTo>
                          <a:pt x="123856" y="61928"/>
                        </a:moveTo>
                        <a:cubicBezTo>
                          <a:pt x="123856" y="96130"/>
                          <a:pt x="96130" y="123856"/>
                          <a:pt x="61928" y="123856"/>
                        </a:cubicBezTo>
                        <a:cubicBezTo>
                          <a:pt x="27726" y="123856"/>
                          <a:pt x="0" y="96130"/>
                          <a:pt x="0" y="61928"/>
                        </a:cubicBezTo>
                        <a:cubicBezTo>
                          <a:pt x="0" y="27726"/>
                          <a:pt x="27726" y="0"/>
                          <a:pt x="61928" y="0"/>
                        </a:cubicBezTo>
                        <a:cubicBezTo>
                          <a:pt x="96130" y="0"/>
                          <a:pt x="123856" y="27726"/>
                          <a:pt x="123856" y="61928"/>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521663DD-34C9-4CA5-B5E9-B2D3E709F313}"/>
                      </a:ext>
                    </a:extLst>
                  </p:cNvPr>
                  <p:cNvSpPr/>
                  <p:nvPr/>
                </p:nvSpPr>
                <p:spPr>
                  <a:xfrm>
                    <a:off x="6489611" y="168354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6" name="Freeform: Shape 95">
                  <a:extLst>
                    <a:ext uri="{FF2B5EF4-FFF2-40B4-BE49-F238E27FC236}">
                      <a16:creationId xmlns:a16="http://schemas.microsoft.com/office/drawing/2014/main" id="{FE9FFF4A-E7C8-4A5E-B5BE-11BE746F3249}"/>
                    </a:ext>
                  </a:extLst>
                </p:cNvPr>
                <p:cNvSpPr/>
                <p:nvPr/>
              </p:nvSpPr>
              <p:spPr>
                <a:xfrm>
                  <a:off x="6541218" y="1497760"/>
                  <a:ext cx="448978" cy="433496"/>
                </a:xfrm>
                <a:custGeom>
                  <a:avLst/>
                  <a:gdLst>
                    <a:gd name="connsiteX0" fmla="*/ 448979 w 448978"/>
                    <a:gd name="connsiteY0" fmla="*/ 418015 h 433496"/>
                    <a:gd name="connsiteX1" fmla="*/ 319962 w 448978"/>
                    <a:gd name="connsiteY1" fmla="*/ 201266 h 433496"/>
                    <a:gd name="connsiteX2" fmla="*/ 309641 w 448978"/>
                    <a:gd name="connsiteY2" fmla="*/ 206427 h 433496"/>
                    <a:gd name="connsiteX3" fmla="*/ 319962 w 448978"/>
                    <a:gd name="connsiteY3" fmla="*/ 201266 h 433496"/>
                    <a:gd name="connsiteX4" fmla="*/ 180624 w 448978"/>
                    <a:gd name="connsiteY4" fmla="*/ 0 h 433496"/>
                    <a:gd name="connsiteX5" fmla="*/ 154820 w 448978"/>
                    <a:gd name="connsiteY5" fmla="*/ 20643 h 433496"/>
                    <a:gd name="connsiteX6" fmla="*/ 278677 w 448978"/>
                    <a:gd name="connsiteY6" fmla="*/ 196106 h 433496"/>
                    <a:gd name="connsiteX7" fmla="*/ 0 w 448978"/>
                    <a:gd name="connsiteY7" fmla="*/ 221909 h 433496"/>
                    <a:gd name="connsiteX8" fmla="*/ 5161 w 448978"/>
                    <a:gd name="connsiteY8" fmla="*/ 252873 h 433496"/>
                    <a:gd name="connsiteX9" fmla="*/ 278677 w 448978"/>
                    <a:gd name="connsiteY9" fmla="*/ 227070 h 433496"/>
                    <a:gd name="connsiteX10" fmla="*/ 185784 w 448978"/>
                    <a:gd name="connsiteY10" fmla="*/ 376729 h 433496"/>
                    <a:gd name="connsiteX11" fmla="*/ 211588 w 448978"/>
                    <a:gd name="connsiteY11" fmla="*/ 392212 h 433496"/>
                    <a:gd name="connsiteX12" fmla="*/ 304480 w 448978"/>
                    <a:gd name="connsiteY12" fmla="*/ 237391 h 433496"/>
                    <a:gd name="connsiteX13" fmla="*/ 418015 w 448978"/>
                    <a:gd name="connsiteY13" fmla="*/ 433497 h 433496"/>
                    <a:gd name="connsiteX14" fmla="*/ 448979 w 448978"/>
                    <a:gd name="connsiteY14" fmla="*/ 418015 h 433496"/>
                    <a:gd name="connsiteX15" fmla="*/ 448979 w 448978"/>
                    <a:gd name="connsiteY15" fmla="*/ 418015 h 43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78" h="433496">
                      <a:moveTo>
                        <a:pt x="448979" y="418015"/>
                      </a:moveTo>
                      <a:lnTo>
                        <a:pt x="319962" y="201266"/>
                      </a:lnTo>
                      <a:lnTo>
                        <a:pt x="309641" y="206427"/>
                      </a:lnTo>
                      <a:lnTo>
                        <a:pt x="319962" y="201266"/>
                      </a:lnTo>
                      <a:lnTo>
                        <a:pt x="180624" y="0"/>
                      </a:lnTo>
                      <a:lnTo>
                        <a:pt x="154820" y="20643"/>
                      </a:lnTo>
                      <a:lnTo>
                        <a:pt x="278677" y="196106"/>
                      </a:lnTo>
                      <a:lnTo>
                        <a:pt x="0" y="221909"/>
                      </a:lnTo>
                      <a:lnTo>
                        <a:pt x="5161" y="252873"/>
                      </a:lnTo>
                      <a:lnTo>
                        <a:pt x="278677" y="227070"/>
                      </a:lnTo>
                      <a:lnTo>
                        <a:pt x="185784" y="376729"/>
                      </a:lnTo>
                      <a:lnTo>
                        <a:pt x="211588" y="392212"/>
                      </a:lnTo>
                      <a:lnTo>
                        <a:pt x="304480" y="237391"/>
                      </a:lnTo>
                      <a:lnTo>
                        <a:pt x="418015" y="433497"/>
                      </a:lnTo>
                      <a:lnTo>
                        <a:pt x="448979" y="418015"/>
                      </a:lnTo>
                      <a:lnTo>
                        <a:pt x="448979" y="418015"/>
                      </a:lnTo>
                      <a:close/>
                    </a:path>
                  </a:pathLst>
                </a:custGeom>
                <a:solidFill>
                  <a:srgbClr val="989898"/>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7" name="Graphic 17">
                  <a:extLst>
                    <a:ext uri="{FF2B5EF4-FFF2-40B4-BE49-F238E27FC236}">
                      <a16:creationId xmlns:a16="http://schemas.microsoft.com/office/drawing/2014/main" id="{ED37C981-7D3B-4C68-8B80-0B0E5CE01137}"/>
                    </a:ext>
                  </a:extLst>
                </p:cNvPr>
                <p:cNvGrpSpPr/>
                <p:nvPr/>
              </p:nvGrpSpPr>
              <p:grpSpPr>
                <a:xfrm>
                  <a:off x="6489611" y="1446153"/>
                  <a:ext cx="541871" cy="541871"/>
                  <a:chOff x="6489611" y="1446153"/>
                  <a:chExt cx="541871" cy="541871"/>
                </a:xfrm>
                <a:solidFill>
                  <a:srgbClr val="32BEDD"/>
                </a:solidFill>
              </p:grpSpPr>
              <p:sp>
                <p:nvSpPr>
                  <p:cNvPr id="98" name="Freeform: Shape 97">
                    <a:extLst>
                      <a:ext uri="{FF2B5EF4-FFF2-40B4-BE49-F238E27FC236}">
                        <a16:creationId xmlns:a16="http://schemas.microsoft.com/office/drawing/2014/main" id="{E38BCF06-BB53-472E-B9C2-11C618F313C0}"/>
                      </a:ext>
                    </a:extLst>
                  </p:cNvPr>
                  <p:cNvSpPr/>
                  <p:nvPr/>
                </p:nvSpPr>
                <p:spPr>
                  <a:xfrm>
                    <a:off x="6778609" y="1637098"/>
                    <a:ext cx="144498" cy="144498"/>
                  </a:xfrm>
                  <a:custGeom>
                    <a:avLst/>
                    <a:gdLst>
                      <a:gd name="connsiteX0" fmla="*/ 144499 w 144498"/>
                      <a:gd name="connsiteY0" fmla="*/ 72250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50"/>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59F44B6-C942-44DE-9CA2-F03BEF4CE160}"/>
                      </a:ext>
                    </a:extLst>
                  </p:cNvPr>
                  <p:cNvSpPr/>
                  <p:nvPr/>
                </p:nvSpPr>
                <p:spPr>
                  <a:xfrm>
                    <a:off x="6644431" y="1446153"/>
                    <a:ext cx="123856" cy="123856"/>
                  </a:xfrm>
                  <a:custGeom>
                    <a:avLst/>
                    <a:gdLst>
                      <a:gd name="connsiteX0" fmla="*/ 123856 w 123856"/>
                      <a:gd name="connsiteY0" fmla="*/ 61928 h 123856"/>
                      <a:gd name="connsiteX1" fmla="*/ 61928 w 123856"/>
                      <a:gd name="connsiteY1" fmla="*/ 123856 h 123856"/>
                      <a:gd name="connsiteX2" fmla="*/ 0 w 123856"/>
                      <a:gd name="connsiteY2" fmla="*/ 61928 h 123856"/>
                      <a:gd name="connsiteX3" fmla="*/ 61928 w 123856"/>
                      <a:gd name="connsiteY3" fmla="*/ 0 h 123856"/>
                      <a:gd name="connsiteX4" fmla="*/ 123856 w 123856"/>
                      <a:gd name="connsiteY4" fmla="*/ 61928 h 123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56" h="123856">
                        <a:moveTo>
                          <a:pt x="123856" y="61928"/>
                        </a:moveTo>
                        <a:cubicBezTo>
                          <a:pt x="123856" y="96130"/>
                          <a:pt x="96130" y="123856"/>
                          <a:pt x="61928" y="123856"/>
                        </a:cubicBezTo>
                        <a:cubicBezTo>
                          <a:pt x="27726" y="123856"/>
                          <a:pt x="0" y="96130"/>
                          <a:pt x="0" y="61928"/>
                        </a:cubicBezTo>
                        <a:cubicBezTo>
                          <a:pt x="0" y="27726"/>
                          <a:pt x="27726" y="0"/>
                          <a:pt x="61928" y="0"/>
                        </a:cubicBezTo>
                        <a:cubicBezTo>
                          <a:pt x="96130" y="0"/>
                          <a:pt x="123856" y="27726"/>
                          <a:pt x="123856" y="61928"/>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B09CBCC0-7AF8-4630-B244-21F6E09E4490}"/>
                      </a:ext>
                    </a:extLst>
                  </p:cNvPr>
                  <p:cNvSpPr/>
                  <p:nvPr/>
                </p:nvSpPr>
                <p:spPr>
                  <a:xfrm>
                    <a:off x="6489611" y="168354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B3CA3115-2F01-4940-9AF2-423ACF9667BD}"/>
                      </a:ext>
                    </a:extLst>
                  </p:cNvPr>
                  <p:cNvSpPr/>
                  <p:nvPr/>
                </p:nvSpPr>
                <p:spPr>
                  <a:xfrm>
                    <a:off x="6690877" y="183836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D89F3206-3E5B-4B38-990B-38376B22922C}"/>
                      </a:ext>
                    </a:extLst>
                  </p:cNvPr>
                  <p:cNvSpPr/>
                  <p:nvPr/>
                </p:nvSpPr>
                <p:spPr>
                  <a:xfrm>
                    <a:off x="6917947" y="1874489"/>
                    <a:ext cx="113534" cy="113534"/>
                  </a:xfrm>
                  <a:custGeom>
                    <a:avLst/>
                    <a:gdLst>
                      <a:gd name="connsiteX0" fmla="*/ 113535 w 113534"/>
                      <a:gd name="connsiteY0" fmla="*/ 56767 h 113534"/>
                      <a:gd name="connsiteX1" fmla="*/ 56767 w 113534"/>
                      <a:gd name="connsiteY1" fmla="*/ 113535 h 113534"/>
                      <a:gd name="connsiteX2" fmla="*/ 0 w 113534"/>
                      <a:gd name="connsiteY2" fmla="*/ 56767 h 113534"/>
                      <a:gd name="connsiteX3" fmla="*/ 56767 w 113534"/>
                      <a:gd name="connsiteY3" fmla="*/ 0 h 113534"/>
                      <a:gd name="connsiteX4" fmla="*/ 113535 w 113534"/>
                      <a:gd name="connsiteY4" fmla="*/ 56767 h 11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34" h="113534">
                        <a:moveTo>
                          <a:pt x="113535" y="56767"/>
                        </a:moveTo>
                        <a:cubicBezTo>
                          <a:pt x="113535" y="88119"/>
                          <a:pt x="88119" y="113535"/>
                          <a:pt x="56767" y="113535"/>
                        </a:cubicBezTo>
                        <a:cubicBezTo>
                          <a:pt x="25416" y="113535"/>
                          <a:pt x="0" y="88119"/>
                          <a:pt x="0" y="56767"/>
                        </a:cubicBezTo>
                        <a:cubicBezTo>
                          <a:pt x="0" y="25416"/>
                          <a:pt x="25416" y="0"/>
                          <a:pt x="56767" y="0"/>
                        </a:cubicBezTo>
                        <a:cubicBezTo>
                          <a:pt x="88119" y="0"/>
                          <a:pt x="113535" y="25416"/>
                          <a:pt x="113535" y="5676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3" name="Freeform: Shape 102">
                  <a:extLst>
                    <a:ext uri="{FF2B5EF4-FFF2-40B4-BE49-F238E27FC236}">
                      <a16:creationId xmlns:a16="http://schemas.microsoft.com/office/drawing/2014/main" id="{ED940413-B0D2-47D0-AD30-44018E98FBF7}"/>
                    </a:ext>
                  </a:extLst>
                </p:cNvPr>
                <p:cNvSpPr/>
                <p:nvPr/>
              </p:nvSpPr>
              <p:spPr>
                <a:xfrm>
                  <a:off x="7031482" y="1420349"/>
                  <a:ext cx="144498" cy="144498"/>
                </a:xfrm>
                <a:custGeom>
                  <a:avLst/>
                  <a:gdLst>
                    <a:gd name="connsiteX0" fmla="*/ 144499 w 144498"/>
                    <a:gd name="connsiteY0" fmla="*/ 72249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49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49"/>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49"/>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658027B2-17E0-4468-A27C-C2E09DA9265E}"/>
                    </a:ext>
                  </a:extLst>
                </p:cNvPr>
                <p:cNvSpPr/>
                <p:nvPr/>
              </p:nvSpPr>
              <p:spPr>
                <a:xfrm>
                  <a:off x="6422522" y="1420349"/>
                  <a:ext cx="144498" cy="144498"/>
                </a:xfrm>
                <a:custGeom>
                  <a:avLst/>
                  <a:gdLst>
                    <a:gd name="connsiteX0" fmla="*/ 144499 w 144498"/>
                    <a:gd name="connsiteY0" fmla="*/ 72249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49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49"/>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49"/>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D171BE5E-7AF1-4AF0-96E6-16EF11B3CB88}"/>
                    </a:ext>
                  </a:extLst>
                </p:cNvPr>
                <p:cNvSpPr/>
                <p:nvPr/>
              </p:nvSpPr>
              <p:spPr>
                <a:xfrm>
                  <a:off x="6721842" y="2065434"/>
                  <a:ext cx="144498" cy="144498"/>
                </a:xfrm>
                <a:custGeom>
                  <a:avLst/>
                  <a:gdLst>
                    <a:gd name="connsiteX0" fmla="*/ 144499 w 144498"/>
                    <a:gd name="connsiteY0" fmla="*/ 72250 h 144498"/>
                    <a:gd name="connsiteX1" fmla="*/ 72249 w 144498"/>
                    <a:gd name="connsiteY1" fmla="*/ 144499 h 144498"/>
                    <a:gd name="connsiteX2" fmla="*/ 0 w 144498"/>
                    <a:gd name="connsiteY2" fmla="*/ 72250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50"/>
                      </a:cubicBezTo>
                      <a:cubicBezTo>
                        <a:pt x="0" y="32347"/>
                        <a:pt x="32347" y="0"/>
                        <a:pt x="72249" y="0"/>
                      </a:cubicBezTo>
                      <a:cubicBezTo>
                        <a:pt x="112152" y="0"/>
                        <a:pt x="144499" y="32347"/>
                        <a:pt x="144499" y="72250"/>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B9FDEE9-0F55-4D54-9FFF-473E7846CF55}"/>
                    </a:ext>
                  </a:extLst>
                </p:cNvPr>
                <p:cNvSpPr/>
                <p:nvPr/>
              </p:nvSpPr>
              <p:spPr>
                <a:xfrm>
                  <a:off x="6356127" y="1304194"/>
                  <a:ext cx="881638" cy="869614"/>
                </a:xfrm>
                <a:custGeom>
                  <a:avLst/>
                  <a:gdLst>
                    <a:gd name="connsiteX0" fmla="*/ 226377 w 881638"/>
                    <a:gd name="connsiteY0" fmla="*/ 152280 h 869614"/>
                    <a:gd name="connsiteX1" fmla="*/ 654713 w 881638"/>
                    <a:gd name="connsiteY1" fmla="*/ 157441 h 869614"/>
                    <a:gd name="connsiteX2" fmla="*/ 706320 w 881638"/>
                    <a:gd name="connsiteY2" fmla="*/ 95513 h 869614"/>
                    <a:gd name="connsiteX3" fmla="*/ 169609 w 881638"/>
                    <a:gd name="connsiteY3" fmla="*/ 90352 h 869614"/>
                    <a:gd name="connsiteX4" fmla="*/ 226377 w 881638"/>
                    <a:gd name="connsiteY4" fmla="*/ 152280 h 869614"/>
                    <a:gd name="connsiteX5" fmla="*/ 830176 w 881638"/>
                    <a:gd name="connsiteY5" fmla="*/ 250333 h 869614"/>
                    <a:gd name="connsiteX6" fmla="*/ 763087 w 881638"/>
                    <a:gd name="connsiteY6" fmla="*/ 291619 h 869614"/>
                    <a:gd name="connsiteX7" fmla="*/ 799212 w 881638"/>
                    <a:gd name="connsiteY7" fmla="*/ 446439 h 869614"/>
                    <a:gd name="connsiteX8" fmla="*/ 530857 w 881638"/>
                    <a:gd name="connsiteY8" fmla="*/ 792204 h 869614"/>
                    <a:gd name="connsiteX9" fmla="*/ 541178 w 881638"/>
                    <a:gd name="connsiteY9" fmla="*/ 838651 h 869614"/>
                    <a:gd name="connsiteX10" fmla="*/ 536017 w 881638"/>
                    <a:gd name="connsiteY10" fmla="*/ 869615 h 869614"/>
                    <a:gd name="connsiteX11" fmla="*/ 871461 w 881638"/>
                    <a:gd name="connsiteY11" fmla="*/ 348386 h 869614"/>
                    <a:gd name="connsiteX12" fmla="*/ 830176 w 881638"/>
                    <a:gd name="connsiteY12" fmla="*/ 250333 h 869614"/>
                    <a:gd name="connsiteX13" fmla="*/ 830176 w 881638"/>
                    <a:gd name="connsiteY13" fmla="*/ 250333 h 869614"/>
                    <a:gd name="connsiteX14" fmla="*/ 339912 w 881638"/>
                    <a:gd name="connsiteY14" fmla="*/ 833490 h 869614"/>
                    <a:gd name="connsiteX15" fmla="*/ 350233 w 881638"/>
                    <a:gd name="connsiteY15" fmla="*/ 787044 h 869614"/>
                    <a:gd name="connsiteX16" fmla="*/ 92199 w 881638"/>
                    <a:gd name="connsiteY16" fmla="*/ 353547 h 869614"/>
                    <a:gd name="connsiteX17" fmla="*/ 118003 w 881638"/>
                    <a:gd name="connsiteY17" fmla="*/ 286458 h 869614"/>
                    <a:gd name="connsiteX18" fmla="*/ 66396 w 881638"/>
                    <a:gd name="connsiteY18" fmla="*/ 260655 h 869614"/>
                    <a:gd name="connsiteX19" fmla="*/ 50914 w 881638"/>
                    <a:gd name="connsiteY19" fmla="*/ 240012 h 869614"/>
                    <a:gd name="connsiteX20" fmla="*/ 236698 w 881638"/>
                    <a:gd name="connsiteY20" fmla="*/ 828329 h 869614"/>
                    <a:gd name="connsiteX21" fmla="*/ 345072 w 881638"/>
                    <a:gd name="connsiteY21" fmla="*/ 869615 h 869614"/>
                    <a:gd name="connsiteX22" fmla="*/ 339912 w 881638"/>
                    <a:gd name="connsiteY22" fmla="*/ 833490 h 869614"/>
                    <a:gd name="connsiteX23" fmla="*/ 339912 w 881638"/>
                    <a:gd name="connsiteY23" fmla="*/ 833490 h 8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1638" h="869614">
                      <a:moveTo>
                        <a:pt x="226377" y="152280"/>
                      </a:moveTo>
                      <a:cubicBezTo>
                        <a:pt x="355394" y="59388"/>
                        <a:pt x="530857" y="59388"/>
                        <a:pt x="654713" y="157441"/>
                      </a:cubicBezTo>
                      <a:cubicBezTo>
                        <a:pt x="665034" y="131638"/>
                        <a:pt x="680516" y="110995"/>
                        <a:pt x="706320" y="95513"/>
                      </a:cubicBezTo>
                      <a:cubicBezTo>
                        <a:pt x="551499" y="-28343"/>
                        <a:pt x="329590" y="-33504"/>
                        <a:pt x="169609" y="90352"/>
                      </a:cubicBezTo>
                      <a:cubicBezTo>
                        <a:pt x="195413" y="105834"/>
                        <a:pt x="216055" y="126477"/>
                        <a:pt x="226377" y="152280"/>
                      </a:cubicBezTo>
                      <a:close/>
                      <a:moveTo>
                        <a:pt x="830176" y="250333"/>
                      </a:moveTo>
                      <a:cubicBezTo>
                        <a:pt x="814694" y="270976"/>
                        <a:pt x="788891" y="286458"/>
                        <a:pt x="763087" y="291619"/>
                      </a:cubicBezTo>
                      <a:cubicBezTo>
                        <a:pt x="783730" y="338065"/>
                        <a:pt x="799212" y="394832"/>
                        <a:pt x="799212" y="446439"/>
                      </a:cubicBezTo>
                      <a:cubicBezTo>
                        <a:pt x="799212" y="611581"/>
                        <a:pt x="685677" y="750919"/>
                        <a:pt x="530857" y="792204"/>
                      </a:cubicBezTo>
                      <a:cubicBezTo>
                        <a:pt x="541178" y="807686"/>
                        <a:pt x="541178" y="823168"/>
                        <a:pt x="541178" y="838651"/>
                      </a:cubicBezTo>
                      <a:cubicBezTo>
                        <a:pt x="541178" y="848972"/>
                        <a:pt x="541178" y="859293"/>
                        <a:pt x="536017" y="869615"/>
                      </a:cubicBezTo>
                      <a:cubicBezTo>
                        <a:pt x="773408" y="818008"/>
                        <a:pt x="923068" y="585777"/>
                        <a:pt x="871461" y="348386"/>
                      </a:cubicBezTo>
                      <a:cubicBezTo>
                        <a:pt x="855979" y="312261"/>
                        <a:pt x="845658" y="281297"/>
                        <a:pt x="830176" y="250333"/>
                      </a:cubicBezTo>
                      <a:lnTo>
                        <a:pt x="830176" y="250333"/>
                      </a:lnTo>
                      <a:close/>
                      <a:moveTo>
                        <a:pt x="339912" y="833490"/>
                      </a:moveTo>
                      <a:cubicBezTo>
                        <a:pt x="339912" y="818008"/>
                        <a:pt x="345072" y="802526"/>
                        <a:pt x="350233" y="787044"/>
                      </a:cubicBezTo>
                      <a:cubicBezTo>
                        <a:pt x="159288" y="740598"/>
                        <a:pt x="40592" y="544492"/>
                        <a:pt x="92199" y="353547"/>
                      </a:cubicBezTo>
                      <a:cubicBezTo>
                        <a:pt x="97360" y="327743"/>
                        <a:pt x="107681" y="307101"/>
                        <a:pt x="118003" y="286458"/>
                      </a:cubicBezTo>
                      <a:cubicBezTo>
                        <a:pt x="97360" y="281297"/>
                        <a:pt x="76717" y="270976"/>
                        <a:pt x="66396" y="260655"/>
                      </a:cubicBezTo>
                      <a:cubicBezTo>
                        <a:pt x="56074" y="250333"/>
                        <a:pt x="50914" y="245172"/>
                        <a:pt x="50914" y="240012"/>
                      </a:cubicBezTo>
                      <a:cubicBezTo>
                        <a:pt x="-62621" y="451600"/>
                        <a:pt x="19950" y="714794"/>
                        <a:pt x="236698" y="828329"/>
                      </a:cubicBezTo>
                      <a:cubicBezTo>
                        <a:pt x="272823" y="848972"/>
                        <a:pt x="308948" y="859293"/>
                        <a:pt x="345072" y="869615"/>
                      </a:cubicBezTo>
                      <a:cubicBezTo>
                        <a:pt x="339912" y="854133"/>
                        <a:pt x="339912" y="843811"/>
                        <a:pt x="339912" y="833490"/>
                      </a:cubicBezTo>
                      <a:lnTo>
                        <a:pt x="339912" y="833490"/>
                      </a:lnTo>
                      <a:close/>
                    </a:path>
                  </a:pathLst>
                </a:custGeom>
                <a:solidFill>
                  <a:schemeClr val="bg1"/>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126" name="Straight Arrow Connector 125">
              <a:extLst>
                <a:ext uri="{FF2B5EF4-FFF2-40B4-BE49-F238E27FC236}">
                  <a16:creationId xmlns:a16="http://schemas.microsoft.com/office/drawing/2014/main" id="{677AA576-151B-4E0A-8F85-10ACB6D34890}"/>
                </a:ext>
              </a:extLst>
            </p:cNvPr>
            <p:cNvCxnSpPr>
              <a:cxnSpLocks/>
            </p:cNvCxnSpPr>
            <p:nvPr/>
          </p:nvCxnSpPr>
          <p:spPr>
            <a:xfrm flipH="1">
              <a:off x="4142439" y="3896315"/>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7" name="Group 156">
            <a:extLst>
              <a:ext uri="{FF2B5EF4-FFF2-40B4-BE49-F238E27FC236}">
                <a16:creationId xmlns:a16="http://schemas.microsoft.com/office/drawing/2014/main" id="{5949BDE9-7FCD-49B9-800D-16E528E5A05D}"/>
              </a:ext>
            </a:extLst>
          </p:cNvPr>
          <p:cNvGrpSpPr/>
          <p:nvPr/>
        </p:nvGrpSpPr>
        <p:grpSpPr>
          <a:xfrm>
            <a:off x="5625524" y="2453404"/>
            <a:ext cx="1606590" cy="1538895"/>
            <a:chOff x="5625524" y="2453404"/>
            <a:chExt cx="1606590" cy="1538895"/>
          </a:xfrm>
        </p:grpSpPr>
        <p:cxnSp>
          <p:nvCxnSpPr>
            <p:cNvPr id="127" name="Straight Arrow Connector 126">
              <a:extLst>
                <a:ext uri="{FF2B5EF4-FFF2-40B4-BE49-F238E27FC236}">
                  <a16:creationId xmlns:a16="http://schemas.microsoft.com/office/drawing/2014/main" id="{D3C45184-E346-4AE2-806A-6DC0A8B78469}"/>
                </a:ext>
              </a:extLst>
            </p:cNvPr>
            <p:cNvCxnSpPr>
              <a:cxnSpLocks/>
            </p:cNvCxnSpPr>
            <p:nvPr/>
          </p:nvCxnSpPr>
          <p:spPr>
            <a:xfrm flipH="1">
              <a:off x="5625524" y="3313703"/>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nvGrpSpPr>
            <p:cNvPr id="152" name="Group 151">
              <a:extLst>
                <a:ext uri="{FF2B5EF4-FFF2-40B4-BE49-F238E27FC236}">
                  <a16:creationId xmlns:a16="http://schemas.microsoft.com/office/drawing/2014/main" id="{A6A07736-CCFE-40F8-B8B8-09AEFCC30FE3}"/>
                </a:ext>
              </a:extLst>
            </p:cNvPr>
            <p:cNvGrpSpPr/>
            <p:nvPr/>
          </p:nvGrpSpPr>
          <p:grpSpPr>
            <a:xfrm>
              <a:off x="6204539" y="2453404"/>
              <a:ext cx="1027575" cy="1538895"/>
              <a:chOff x="6048126" y="2453404"/>
              <a:chExt cx="1027575" cy="1538895"/>
            </a:xfrm>
          </p:grpSpPr>
          <p:sp>
            <p:nvSpPr>
              <p:cNvPr id="83" name="Title 1">
                <a:extLst>
                  <a:ext uri="{FF2B5EF4-FFF2-40B4-BE49-F238E27FC236}">
                    <a16:creationId xmlns:a16="http://schemas.microsoft.com/office/drawing/2014/main" id="{FD6AD64F-589F-4AA5-801D-5E383EFA51E2}"/>
                  </a:ext>
                </a:extLst>
              </p:cNvPr>
              <p:cNvSpPr txBox="1">
                <a:spLocks/>
              </p:cNvSpPr>
              <p:nvPr/>
            </p:nvSpPr>
            <p:spPr>
              <a:xfrm>
                <a:off x="6174648" y="3020567"/>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4" name="Title 1">
                <a:extLst>
                  <a:ext uri="{FF2B5EF4-FFF2-40B4-BE49-F238E27FC236}">
                    <a16:creationId xmlns:a16="http://schemas.microsoft.com/office/drawing/2014/main" id="{B9D98044-55A8-405F-AFD8-F8B4D82ED437}"/>
                  </a:ext>
                </a:extLst>
              </p:cNvPr>
              <p:cNvSpPr txBox="1">
                <a:spLocks/>
              </p:cNvSpPr>
              <p:nvPr/>
            </p:nvSpPr>
            <p:spPr>
              <a:xfrm>
                <a:off x="6090581" y="3561412"/>
                <a:ext cx="72232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oup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vices </a:t>
                </a:r>
              </a:p>
            </p:txBody>
          </p:sp>
          <p:grpSp>
            <p:nvGrpSpPr>
              <p:cNvPr id="137" name="Group 136">
                <a:extLst>
                  <a:ext uri="{FF2B5EF4-FFF2-40B4-BE49-F238E27FC236}">
                    <a16:creationId xmlns:a16="http://schemas.microsoft.com/office/drawing/2014/main" id="{D6C93FB0-FA76-4B12-9827-41115C250DE9}"/>
                  </a:ext>
                </a:extLst>
              </p:cNvPr>
              <p:cNvGrpSpPr/>
              <p:nvPr/>
            </p:nvGrpSpPr>
            <p:grpSpPr>
              <a:xfrm>
                <a:off x="6048126" y="2453404"/>
                <a:ext cx="1027575" cy="517088"/>
                <a:chOff x="6685651" y="2398319"/>
                <a:chExt cx="1027575" cy="517088"/>
              </a:xfrm>
            </p:grpSpPr>
            <p:grpSp>
              <p:nvGrpSpPr>
                <p:cNvPr id="128" name="Graphic 80">
                  <a:extLst>
                    <a:ext uri="{FF2B5EF4-FFF2-40B4-BE49-F238E27FC236}">
                      <a16:creationId xmlns:a16="http://schemas.microsoft.com/office/drawing/2014/main" id="{E885331D-6110-44A8-A89B-E1839573E206}"/>
                    </a:ext>
                  </a:extLst>
                </p:cNvPr>
                <p:cNvGrpSpPr/>
                <p:nvPr/>
              </p:nvGrpSpPr>
              <p:grpSpPr>
                <a:xfrm>
                  <a:off x="6685651" y="2398319"/>
                  <a:ext cx="247621" cy="517088"/>
                  <a:chOff x="6685651" y="2398319"/>
                  <a:chExt cx="247621" cy="517088"/>
                </a:xfrm>
              </p:grpSpPr>
              <p:sp>
                <p:nvSpPr>
                  <p:cNvPr id="129" name="Freeform: Shape 128">
                    <a:extLst>
                      <a:ext uri="{FF2B5EF4-FFF2-40B4-BE49-F238E27FC236}">
                        <a16:creationId xmlns:a16="http://schemas.microsoft.com/office/drawing/2014/main" id="{8C8C6144-D48E-4C90-AE7A-040D3A9F4F53}"/>
                      </a:ext>
                    </a:extLst>
                  </p:cNvPr>
                  <p:cNvSpPr/>
                  <p:nvPr/>
                </p:nvSpPr>
                <p:spPr>
                  <a:xfrm>
                    <a:off x="6685903" y="2398319"/>
                    <a:ext cx="203670" cy="517088"/>
                  </a:xfrm>
                  <a:custGeom>
                    <a:avLst/>
                    <a:gdLst>
                      <a:gd name="connsiteX0" fmla="*/ 90056 w 203670"/>
                      <a:gd name="connsiteY0" fmla="*/ 516360 h 517088"/>
                      <a:gd name="connsiteX1" fmla="*/ 101709 w 203670"/>
                      <a:gd name="connsiteY1" fmla="*/ 517088 h 517088"/>
                      <a:gd name="connsiteX2" fmla="*/ 170169 w 203670"/>
                      <a:gd name="connsiteY2" fmla="*/ 490869 h 517088"/>
                      <a:gd name="connsiteX3" fmla="*/ 203671 w 203670"/>
                      <a:gd name="connsiteY3" fmla="*/ 415127 h 517088"/>
                      <a:gd name="connsiteX4" fmla="*/ 157788 w 203670"/>
                      <a:gd name="connsiteY4" fmla="*/ 329917 h 517088"/>
                      <a:gd name="connsiteX5" fmla="*/ 157788 w 203670"/>
                      <a:gd name="connsiteY5" fmla="*/ 56079 h 517088"/>
                      <a:gd name="connsiteX6" fmla="*/ 101709 w 203670"/>
                      <a:gd name="connsiteY6" fmla="*/ 0 h 517088"/>
                      <a:gd name="connsiteX7" fmla="*/ 45630 w 203670"/>
                      <a:gd name="connsiteY7" fmla="*/ 56079 h 517088"/>
                      <a:gd name="connsiteX8" fmla="*/ 45630 w 203670"/>
                      <a:gd name="connsiteY8" fmla="*/ 329917 h 517088"/>
                      <a:gd name="connsiteX9" fmla="*/ 476 w 203670"/>
                      <a:gd name="connsiteY9" fmla="*/ 425323 h 517088"/>
                      <a:gd name="connsiteX10" fmla="*/ 90056 w 203670"/>
                      <a:gd name="connsiteY10" fmla="*/ 516360 h 517088"/>
                      <a:gd name="connsiteX11" fmla="*/ 60924 w 203670"/>
                      <a:gd name="connsiteY11" fmla="*/ 345211 h 517088"/>
                      <a:gd name="connsiteX12" fmla="*/ 66022 w 203670"/>
                      <a:gd name="connsiteY12" fmla="*/ 336471 h 517088"/>
                      <a:gd name="connsiteX13" fmla="*/ 66022 w 203670"/>
                      <a:gd name="connsiteY13" fmla="*/ 56079 h 517088"/>
                      <a:gd name="connsiteX14" fmla="*/ 101709 w 203670"/>
                      <a:gd name="connsiteY14" fmla="*/ 20392 h 517088"/>
                      <a:gd name="connsiteX15" fmla="*/ 137396 w 203670"/>
                      <a:gd name="connsiteY15" fmla="*/ 56079 h 517088"/>
                      <a:gd name="connsiteX16" fmla="*/ 137396 w 203670"/>
                      <a:gd name="connsiteY16" fmla="*/ 335743 h 517088"/>
                      <a:gd name="connsiteX17" fmla="*/ 142494 w 203670"/>
                      <a:gd name="connsiteY17" fmla="*/ 344483 h 517088"/>
                      <a:gd name="connsiteX18" fmla="*/ 183278 w 203670"/>
                      <a:gd name="connsiteY18" fmla="*/ 415127 h 517088"/>
                      <a:gd name="connsiteX19" fmla="*/ 156331 w 203670"/>
                      <a:gd name="connsiteY19" fmla="*/ 475575 h 517088"/>
                      <a:gd name="connsiteX20" fmla="*/ 92969 w 203670"/>
                      <a:gd name="connsiteY20" fmla="*/ 495968 h 517088"/>
                      <a:gd name="connsiteX21" fmla="*/ 21596 w 203670"/>
                      <a:gd name="connsiteY21" fmla="*/ 423138 h 517088"/>
                      <a:gd name="connsiteX22" fmla="*/ 60924 w 203670"/>
                      <a:gd name="connsiteY22" fmla="*/ 345211 h 51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3670" h="517088">
                        <a:moveTo>
                          <a:pt x="90056" y="516360"/>
                        </a:moveTo>
                        <a:cubicBezTo>
                          <a:pt x="93698" y="517088"/>
                          <a:pt x="97339" y="517088"/>
                          <a:pt x="101709" y="517088"/>
                        </a:cubicBezTo>
                        <a:cubicBezTo>
                          <a:pt x="126471" y="517088"/>
                          <a:pt x="151233" y="507620"/>
                          <a:pt x="170169" y="490869"/>
                        </a:cubicBezTo>
                        <a:cubicBezTo>
                          <a:pt x="191289" y="471934"/>
                          <a:pt x="203671" y="444259"/>
                          <a:pt x="203671" y="415127"/>
                        </a:cubicBezTo>
                        <a:cubicBezTo>
                          <a:pt x="203671" y="380897"/>
                          <a:pt x="186191" y="348852"/>
                          <a:pt x="157788" y="329917"/>
                        </a:cubicBezTo>
                        <a:lnTo>
                          <a:pt x="157788" y="56079"/>
                        </a:lnTo>
                        <a:cubicBezTo>
                          <a:pt x="157788" y="25490"/>
                          <a:pt x="133026" y="0"/>
                          <a:pt x="101709" y="0"/>
                        </a:cubicBezTo>
                        <a:cubicBezTo>
                          <a:pt x="70392" y="0"/>
                          <a:pt x="45630" y="25490"/>
                          <a:pt x="45630" y="56079"/>
                        </a:cubicBezTo>
                        <a:lnTo>
                          <a:pt x="45630" y="329917"/>
                        </a:lnTo>
                        <a:cubicBezTo>
                          <a:pt x="14313" y="351037"/>
                          <a:pt x="-3166" y="387452"/>
                          <a:pt x="476" y="425323"/>
                        </a:cubicBezTo>
                        <a:cubicBezTo>
                          <a:pt x="4845" y="472662"/>
                          <a:pt x="42717" y="511262"/>
                          <a:pt x="90056" y="516360"/>
                        </a:cubicBezTo>
                        <a:close/>
                        <a:moveTo>
                          <a:pt x="60924" y="345211"/>
                        </a:moveTo>
                        <a:cubicBezTo>
                          <a:pt x="63838" y="343026"/>
                          <a:pt x="66022" y="340113"/>
                          <a:pt x="66022" y="336471"/>
                        </a:cubicBezTo>
                        <a:lnTo>
                          <a:pt x="66022" y="56079"/>
                        </a:lnTo>
                        <a:cubicBezTo>
                          <a:pt x="66022" y="36415"/>
                          <a:pt x="82045" y="20392"/>
                          <a:pt x="101709" y="20392"/>
                        </a:cubicBezTo>
                        <a:cubicBezTo>
                          <a:pt x="121373" y="20392"/>
                          <a:pt x="137396" y="36415"/>
                          <a:pt x="137396" y="56079"/>
                        </a:cubicBezTo>
                        <a:lnTo>
                          <a:pt x="137396" y="335743"/>
                        </a:lnTo>
                        <a:cubicBezTo>
                          <a:pt x="137396" y="339385"/>
                          <a:pt x="139580" y="343026"/>
                          <a:pt x="142494" y="344483"/>
                        </a:cubicBezTo>
                        <a:cubicBezTo>
                          <a:pt x="167256" y="359048"/>
                          <a:pt x="183278" y="385995"/>
                          <a:pt x="183278" y="415127"/>
                        </a:cubicBezTo>
                        <a:cubicBezTo>
                          <a:pt x="183278" y="438432"/>
                          <a:pt x="173082" y="460281"/>
                          <a:pt x="156331" y="475575"/>
                        </a:cubicBezTo>
                        <a:cubicBezTo>
                          <a:pt x="138852" y="490869"/>
                          <a:pt x="116275" y="498152"/>
                          <a:pt x="92969" y="495968"/>
                        </a:cubicBezTo>
                        <a:cubicBezTo>
                          <a:pt x="55098" y="491598"/>
                          <a:pt x="25238" y="461009"/>
                          <a:pt x="21596" y="423138"/>
                        </a:cubicBezTo>
                        <a:cubicBezTo>
                          <a:pt x="17955" y="391093"/>
                          <a:pt x="33249" y="361233"/>
                          <a:pt x="60924" y="345211"/>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EB627CB8-7943-4680-B47A-0CE55D1DAF35}"/>
                      </a:ext>
                    </a:extLst>
                  </p:cNvPr>
                  <p:cNvSpPr/>
                  <p:nvPr/>
                </p:nvSpPr>
                <p:spPr>
                  <a:xfrm>
                    <a:off x="6732990" y="2483529"/>
                    <a:ext cx="109244" cy="385266"/>
                  </a:xfrm>
                  <a:custGeom>
                    <a:avLst/>
                    <a:gdLst>
                      <a:gd name="connsiteX0" fmla="*/ 54622 w 109244"/>
                      <a:gd name="connsiteY0" fmla="*/ 385267 h 385266"/>
                      <a:gd name="connsiteX1" fmla="*/ 109245 w 109244"/>
                      <a:gd name="connsiteY1" fmla="*/ 330645 h 385266"/>
                      <a:gd name="connsiteX2" fmla="*/ 64818 w 109244"/>
                      <a:gd name="connsiteY2" fmla="*/ 276751 h 385266"/>
                      <a:gd name="connsiteX3" fmla="*/ 64818 w 109244"/>
                      <a:gd name="connsiteY3" fmla="*/ 10196 h 385266"/>
                      <a:gd name="connsiteX4" fmla="*/ 54622 w 109244"/>
                      <a:gd name="connsiteY4" fmla="*/ 0 h 385266"/>
                      <a:gd name="connsiteX5" fmla="*/ 44426 w 109244"/>
                      <a:gd name="connsiteY5" fmla="*/ 10196 h 385266"/>
                      <a:gd name="connsiteX6" fmla="*/ 44426 w 109244"/>
                      <a:gd name="connsiteY6" fmla="*/ 276023 h 385266"/>
                      <a:gd name="connsiteX7" fmla="*/ 0 w 109244"/>
                      <a:gd name="connsiteY7" fmla="*/ 329917 h 385266"/>
                      <a:gd name="connsiteX8" fmla="*/ 54622 w 109244"/>
                      <a:gd name="connsiteY8" fmla="*/ 385267 h 38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244" h="385266">
                        <a:moveTo>
                          <a:pt x="54622" y="385267"/>
                        </a:moveTo>
                        <a:cubicBezTo>
                          <a:pt x="85211" y="385267"/>
                          <a:pt x="109245" y="360505"/>
                          <a:pt x="109245" y="330645"/>
                        </a:cubicBezTo>
                        <a:cubicBezTo>
                          <a:pt x="109245" y="303698"/>
                          <a:pt x="90309" y="281849"/>
                          <a:pt x="64818" y="276751"/>
                        </a:cubicBezTo>
                        <a:lnTo>
                          <a:pt x="64818" y="10196"/>
                        </a:lnTo>
                        <a:cubicBezTo>
                          <a:pt x="64818" y="4370"/>
                          <a:pt x="60449" y="0"/>
                          <a:pt x="54622" y="0"/>
                        </a:cubicBezTo>
                        <a:cubicBezTo>
                          <a:pt x="48796" y="0"/>
                          <a:pt x="44426" y="4370"/>
                          <a:pt x="44426" y="10196"/>
                        </a:cubicBezTo>
                        <a:lnTo>
                          <a:pt x="44426" y="276023"/>
                        </a:lnTo>
                        <a:cubicBezTo>
                          <a:pt x="18936" y="281121"/>
                          <a:pt x="0" y="302970"/>
                          <a:pt x="0" y="329917"/>
                        </a:cubicBezTo>
                        <a:cubicBezTo>
                          <a:pt x="0" y="360505"/>
                          <a:pt x="24034" y="385267"/>
                          <a:pt x="54622" y="385267"/>
                        </a:cubicBezTo>
                        <a:close/>
                      </a:path>
                    </a:pathLst>
                  </a:custGeom>
                  <a:solidFill>
                    <a:schemeClr val="accent5"/>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9A0073D-CDB4-4231-B7ED-CC50A1032B2D}"/>
                      </a:ext>
                    </a:extLst>
                  </p:cNvPr>
                  <p:cNvSpPr/>
                  <p:nvPr/>
                </p:nvSpPr>
                <p:spPr>
                  <a:xfrm>
                    <a:off x="6869181" y="2436190"/>
                    <a:ext cx="64818" cy="20392"/>
                  </a:xfrm>
                  <a:custGeom>
                    <a:avLst/>
                    <a:gdLst>
                      <a:gd name="connsiteX0" fmla="*/ 54622 w 64818"/>
                      <a:gd name="connsiteY0" fmla="*/ 0 h 20392"/>
                      <a:gd name="connsiteX1" fmla="*/ 10196 w 64818"/>
                      <a:gd name="connsiteY1" fmla="*/ 0 h 20392"/>
                      <a:gd name="connsiteX2" fmla="*/ 0 w 64818"/>
                      <a:gd name="connsiteY2" fmla="*/ 10196 h 20392"/>
                      <a:gd name="connsiteX3" fmla="*/ 10196 w 64818"/>
                      <a:gd name="connsiteY3" fmla="*/ 20392 h 20392"/>
                      <a:gd name="connsiteX4" fmla="*/ 54622 w 64818"/>
                      <a:gd name="connsiteY4" fmla="*/ 20392 h 20392"/>
                      <a:gd name="connsiteX5" fmla="*/ 64818 w 64818"/>
                      <a:gd name="connsiteY5" fmla="*/ 10196 h 20392"/>
                      <a:gd name="connsiteX6" fmla="*/ 54622 w 64818"/>
                      <a:gd name="connsiteY6" fmla="*/ 0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54622" y="0"/>
                        </a:moveTo>
                        <a:lnTo>
                          <a:pt x="10196" y="0"/>
                        </a:lnTo>
                        <a:cubicBezTo>
                          <a:pt x="4370" y="0"/>
                          <a:pt x="0" y="4370"/>
                          <a:pt x="0" y="10196"/>
                        </a:cubicBezTo>
                        <a:cubicBezTo>
                          <a:pt x="0" y="16022"/>
                          <a:pt x="4370" y="20392"/>
                          <a:pt x="10196" y="20392"/>
                        </a:cubicBezTo>
                        <a:lnTo>
                          <a:pt x="54622" y="20392"/>
                        </a:lnTo>
                        <a:cubicBezTo>
                          <a:pt x="60449" y="20392"/>
                          <a:pt x="64818" y="16022"/>
                          <a:pt x="64818" y="10196"/>
                        </a:cubicBezTo>
                        <a:cubicBezTo>
                          <a:pt x="64818" y="4370"/>
                          <a:pt x="60449" y="0"/>
                          <a:pt x="54622" y="0"/>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44D0E3AF-F47E-4614-A1A3-83C3FF7987E3}"/>
                      </a:ext>
                    </a:extLst>
                  </p:cNvPr>
                  <p:cNvSpPr/>
                  <p:nvPr/>
                </p:nvSpPr>
                <p:spPr>
                  <a:xfrm>
                    <a:off x="6869181" y="2492268"/>
                    <a:ext cx="47339" cy="20392"/>
                  </a:xfrm>
                  <a:custGeom>
                    <a:avLst/>
                    <a:gdLst>
                      <a:gd name="connsiteX0" fmla="*/ 10196 w 47339"/>
                      <a:gd name="connsiteY0" fmla="*/ 20392 h 20392"/>
                      <a:gd name="connsiteX1" fmla="*/ 37143 w 47339"/>
                      <a:gd name="connsiteY1" fmla="*/ 20392 h 20392"/>
                      <a:gd name="connsiteX2" fmla="*/ 47339 w 47339"/>
                      <a:gd name="connsiteY2" fmla="*/ 10196 h 20392"/>
                      <a:gd name="connsiteX3" fmla="*/ 37143 w 47339"/>
                      <a:gd name="connsiteY3" fmla="*/ 0 h 20392"/>
                      <a:gd name="connsiteX4" fmla="*/ 10196 w 47339"/>
                      <a:gd name="connsiteY4" fmla="*/ 0 h 20392"/>
                      <a:gd name="connsiteX5" fmla="*/ 0 w 47339"/>
                      <a:gd name="connsiteY5" fmla="*/ 10196 h 20392"/>
                      <a:gd name="connsiteX6" fmla="*/ 10196 w 47339"/>
                      <a:gd name="connsiteY6" fmla="*/ 20392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39" h="20392">
                        <a:moveTo>
                          <a:pt x="10196" y="20392"/>
                        </a:moveTo>
                        <a:lnTo>
                          <a:pt x="37143" y="20392"/>
                        </a:lnTo>
                        <a:cubicBezTo>
                          <a:pt x="42970" y="20392"/>
                          <a:pt x="47339" y="16022"/>
                          <a:pt x="47339" y="10196"/>
                        </a:cubicBezTo>
                        <a:cubicBezTo>
                          <a:pt x="47339" y="4370"/>
                          <a:pt x="42970" y="0"/>
                          <a:pt x="37143" y="0"/>
                        </a:cubicBezTo>
                        <a:lnTo>
                          <a:pt x="10196" y="0"/>
                        </a:lnTo>
                        <a:cubicBezTo>
                          <a:pt x="4370" y="0"/>
                          <a:pt x="0" y="4370"/>
                          <a:pt x="0" y="10196"/>
                        </a:cubicBezTo>
                        <a:cubicBezTo>
                          <a:pt x="0" y="15294"/>
                          <a:pt x="4370" y="20392"/>
                          <a:pt x="10196" y="20392"/>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9B90927-8535-49AB-A7BC-7259EB22401D}"/>
                      </a:ext>
                    </a:extLst>
                  </p:cNvPr>
                  <p:cNvSpPr/>
                  <p:nvPr/>
                </p:nvSpPr>
                <p:spPr>
                  <a:xfrm>
                    <a:off x="6869181" y="2546890"/>
                    <a:ext cx="64818" cy="20392"/>
                  </a:xfrm>
                  <a:custGeom>
                    <a:avLst/>
                    <a:gdLst>
                      <a:gd name="connsiteX0" fmla="*/ 54622 w 64818"/>
                      <a:gd name="connsiteY0" fmla="*/ 0 h 20392"/>
                      <a:gd name="connsiteX1" fmla="*/ 10196 w 64818"/>
                      <a:gd name="connsiteY1" fmla="*/ 0 h 20392"/>
                      <a:gd name="connsiteX2" fmla="*/ 0 w 64818"/>
                      <a:gd name="connsiteY2" fmla="*/ 10196 h 20392"/>
                      <a:gd name="connsiteX3" fmla="*/ 10196 w 64818"/>
                      <a:gd name="connsiteY3" fmla="*/ 20392 h 20392"/>
                      <a:gd name="connsiteX4" fmla="*/ 54622 w 64818"/>
                      <a:gd name="connsiteY4" fmla="*/ 20392 h 20392"/>
                      <a:gd name="connsiteX5" fmla="*/ 64818 w 64818"/>
                      <a:gd name="connsiteY5" fmla="*/ 10196 h 20392"/>
                      <a:gd name="connsiteX6" fmla="*/ 54622 w 64818"/>
                      <a:gd name="connsiteY6" fmla="*/ 0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54622" y="0"/>
                        </a:moveTo>
                        <a:lnTo>
                          <a:pt x="10196" y="0"/>
                        </a:lnTo>
                        <a:cubicBezTo>
                          <a:pt x="4370" y="0"/>
                          <a:pt x="0" y="4370"/>
                          <a:pt x="0" y="10196"/>
                        </a:cubicBezTo>
                        <a:cubicBezTo>
                          <a:pt x="0" y="16022"/>
                          <a:pt x="4370" y="20392"/>
                          <a:pt x="10196" y="20392"/>
                        </a:cubicBezTo>
                        <a:lnTo>
                          <a:pt x="54622" y="20392"/>
                        </a:lnTo>
                        <a:cubicBezTo>
                          <a:pt x="60449" y="20392"/>
                          <a:pt x="64818" y="16022"/>
                          <a:pt x="64818" y="10196"/>
                        </a:cubicBezTo>
                        <a:cubicBezTo>
                          <a:pt x="64818" y="5098"/>
                          <a:pt x="60449" y="0"/>
                          <a:pt x="54622" y="0"/>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E79B552A-6462-4532-9D27-FE1DF8C20584}"/>
                      </a:ext>
                    </a:extLst>
                  </p:cNvPr>
                  <p:cNvSpPr/>
                  <p:nvPr/>
                </p:nvSpPr>
                <p:spPr>
                  <a:xfrm>
                    <a:off x="6869181" y="2602969"/>
                    <a:ext cx="47339" cy="20392"/>
                  </a:xfrm>
                  <a:custGeom>
                    <a:avLst/>
                    <a:gdLst>
                      <a:gd name="connsiteX0" fmla="*/ 10196 w 47339"/>
                      <a:gd name="connsiteY0" fmla="*/ 20392 h 20392"/>
                      <a:gd name="connsiteX1" fmla="*/ 37143 w 47339"/>
                      <a:gd name="connsiteY1" fmla="*/ 20392 h 20392"/>
                      <a:gd name="connsiteX2" fmla="*/ 47339 w 47339"/>
                      <a:gd name="connsiteY2" fmla="*/ 10196 h 20392"/>
                      <a:gd name="connsiteX3" fmla="*/ 37143 w 47339"/>
                      <a:gd name="connsiteY3" fmla="*/ 0 h 20392"/>
                      <a:gd name="connsiteX4" fmla="*/ 10196 w 47339"/>
                      <a:gd name="connsiteY4" fmla="*/ 0 h 20392"/>
                      <a:gd name="connsiteX5" fmla="*/ 0 w 47339"/>
                      <a:gd name="connsiteY5" fmla="*/ 10196 h 20392"/>
                      <a:gd name="connsiteX6" fmla="*/ 10196 w 47339"/>
                      <a:gd name="connsiteY6" fmla="*/ 20392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39" h="20392">
                        <a:moveTo>
                          <a:pt x="10196" y="20392"/>
                        </a:moveTo>
                        <a:lnTo>
                          <a:pt x="37143" y="20392"/>
                        </a:lnTo>
                        <a:cubicBezTo>
                          <a:pt x="42970" y="20392"/>
                          <a:pt x="47339" y="16022"/>
                          <a:pt x="47339" y="10196"/>
                        </a:cubicBezTo>
                        <a:cubicBezTo>
                          <a:pt x="47339" y="4370"/>
                          <a:pt x="42970" y="0"/>
                          <a:pt x="37143" y="0"/>
                        </a:cubicBezTo>
                        <a:lnTo>
                          <a:pt x="10196" y="0"/>
                        </a:lnTo>
                        <a:cubicBezTo>
                          <a:pt x="4370" y="0"/>
                          <a:pt x="0" y="4370"/>
                          <a:pt x="0" y="10196"/>
                        </a:cubicBezTo>
                        <a:cubicBezTo>
                          <a:pt x="0" y="15294"/>
                          <a:pt x="4370" y="20392"/>
                          <a:pt x="10196" y="20392"/>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FBD17C4-B331-4610-AAF6-92E8FC5B958D}"/>
                      </a:ext>
                    </a:extLst>
                  </p:cNvPr>
                  <p:cNvSpPr/>
                  <p:nvPr/>
                </p:nvSpPr>
                <p:spPr>
                  <a:xfrm>
                    <a:off x="6869181" y="2658319"/>
                    <a:ext cx="64818" cy="20392"/>
                  </a:xfrm>
                  <a:custGeom>
                    <a:avLst/>
                    <a:gdLst>
                      <a:gd name="connsiteX0" fmla="*/ 64818 w 64818"/>
                      <a:gd name="connsiteY0" fmla="*/ 10196 h 20392"/>
                      <a:gd name="connsiteX1" fmla="*/ 54622 w 64818"/>
                      <a:gd name="connsiteY1" fmla="*/ 0 h 20392"/>
                      <a:gd name="connsiteX2" fmla="*/ 10196 w 64818"/>
                      <a:gd name="connsiteY2" fmla="*/ 0 h 20392"/>
                      <a:gd name="connsiteX3" fmla="*/ 0 w 64818"/>
                      <a:gd name="connsiteY3" fmla="*/ 10196 h 20392"/>
                      <a:gd name="connsiteX4" fmla="*/ 10196 w 64818"/>
                      <a:gd name="connsiteY4" fmla="*/ 20392 h 20392"/>
                      <a:gd name="connsiteX5" fmla="*/ 54622 w 64818"/>
                      <a:gd name="connsiteY5" fmla="*/ 20392 h 20392"/>
                      <a:gd name="connsiteX6" fmla="*/ 64818 w 64818"/>
                      <a:gd name="connsiteY6" fmla="*/ 10196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64818" y="10196"/>
                        </a:moveTo>
                        <a:cubicBezTo>
                          <a:pt x="64818" y="4370"/>
                          <a:pt x="60449" y="0"/>
                          <a:pt x="54622" y="0"/>
                        </a:cubicBezTo>
                        <a:lnTo>
                          <a:pt x="10196" y="0"/>
                        </a:lnTo>
                        <a:cubicBezTo>
                          <a:pt x="4370" y="0"/>
                          <a:pt x="0" y="4370"/>
                          <a:pt x="0" y="10196"/>
                        </a:cubicBezTo>
                        <a:cubicBezTo>
                          <a:pt x="0" y="16022"/>
                          <a:pt x="4370" y="20392"/>
                          <a:pt x="10196" y="20392"/>
                        </a:cubicBezTo>
                        <a:lnTo>
                          <a:pt x="54622" y="20392"/>
                        </a:lnTo>
                        <a:cubicBezTo>
                          <a:pt x="60449" y="20392"/>
                          <a:pt x="64818" y="15294"/>
                          <a:pt x="64818" y="10196"/>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6" name="Rectangle 135">
                  <a:extLst>
                    <a:ext uri="{FF2B5EF4-FFF2-40B4-BE49-F238E27FC236}">
                      <a16:creationId xmlns:a16="http://schemas.microsoft.com/office/drawing/2014/main" id="{924EA4B9-5285-4279-AD67-AC93BD268FC4}"/>
                    </a:ext>
                  </a:extLst>
                </p:cNvPr>
                <p:cNvSpPr/>
                <p:nvPr/>
              </p:nvSpPr>
              <p:spPr bwMode="auto">
                <a:xfrm>
                  <a:off x="7230366" y="2415557"/>
                  <a:ext cx="482860" cy="204459"/>
                </a:xfrm>
                <a:custGeom>
                  <a:avLst/>
                  <a:gdLst>
                    <a:gd name="connsiteX0" fmla="*/ 0 w 482811"/>
                    <a:gd name="connsiteY0" fmla="*/ 0 h 80543"/>
                    <a:gd name="connsiteX1" fmla="*/ 482811 w 482811"/>
                    <a:gd name="connsiteY1" fmla="*/ 0 h 80543"/>
                    <a:gd name="connsiteX2" fmla="*/ 482811 w 482811"/>
                    <a:gd name="connsiteY2" fmla="*/ 80543 h 80543"/>
                    <a:gd name="connsiteX3" fmla="*/ 0 w 482811"/>
                    <a:gd name="connsiteY3" fmla="*/ 80543 h 80543"/>
                    <a:gd name="connsiteX4" fmla="*/ 0 w 482811"/>
                    <a:gd name="connsiteY4" fmla="*/ 0 h 80543"/>
                    <a:gd name="connsiteX0" fmla="*/ 0 w 482811"/>
                    <a:gd name="connsiteY0" fmla="*/ 0 h 345861"/>
                    <a:gd name="connsiteX1" fmla="*/ 482811 w 482811"/>
                    <a:gd name="connsiteY1" fmla="*/ 0 h 345861"/>
                    <a:gd name="connsiteX2" fmla="*/ 435433 w 482811"/>
                    <a:gd name="connsiteY2" fmla="*/ 345861 h 345861"/>
                    <a:gd name="connsiteX3" fmla="*/ 0 w 482811"/>
                    <a:gd name="connsiteY3" fmla="*/ 80543 h 345861"/>
                    <a:gd name="connsiteX4" fmla="*/ 0 w 482811"/>
                    <a:gd name="connsiteY4" fmla="*/ 0 h 345861"/>
                    <a:gd name="connsiteX0" fmla="*/ 9476 w 492287"/>
                    <a:gd name="connsiteY0" fmla="*/ 0 h 345861"/>
                    <a:gd name="connsiteX1" fmla="*/ 492287 w 492287"/>
                    <a:gd name="connsiteY1" fmla="*/ 0 h 345861"/>
                    <a:gd name="connsiteX2" fmla="*/ 444909 w 492287"/>
                    <a:gd name="connsiteY2" fmla="*/ 345861 h 345861"/>
                    <a:gd name="connsiteX3" fmla="*/ 0 w 492287"/>
                    <a:gd name="connsiteY3" fmla="*/ 213202 h 345861"/>
                    <a:gd name="connsiteX4" fmla="*/ 9476 w 492287"/>
                    <a:gd name="connsiteY4" fmla="*/ 0 h 345861"/>
                    <a:gd name="connsiteX0" fmla="*/ 9476 w 482860"/>
                    <a:gd name="connsiteY0" fmla="*/ 0 h 345861"/>
                    <a:gd name="connsiteX1" fmla="*/ 482860 w 482860"/>
                    <a:gd name="connsiteY1" fmla="*/ 260808 h 345861"/>
                    <a:gd name="connsiteX2" fmla="*/ 444909 w 482860"/>
                    <a:gd name="connsiteY2" fmla="*/ 345861 h 345861"/>
                    <a:gd name="connsiteX3" fmla="*/ 0 w 482860"/>
                    <a:gd name="connsiteY3" fmla="*/ 213202 h 345861"/>
                    <a:gd name="connsiteX4" fmla="*/ 9476 w 482860"/>
                    <a:gd name="connsiteY4" fmla="*/ 0 h 345861"/>
                    <a:gd name="connsiteX0" fmla="*/ 40898 w 482860"/>
                    <a:gd name="connsiteY0" fmla="*/ 0 h 191890"/>
                    <a:gd name="connsiteX1" fmla="*/ 482860 w 482860"/>
                    <a:gd name="connsiteY1" fmla="*/ 106837 h 191890"/>
                    <a:gd name="connsiteX2" fmla="*/ 444909 w 482860"/>
                    <a:gd name="connsiteY2" fmla="*/ 191890 h 191890"/>
                    <a:gd name="connsiteX3" fmla="*/ 0 w 482860"/>
                    <a:gd name="connsiteY3" fmla="*/ 59231 h 191890"/>
                    <a:gd name="connsiteX4" fmla="*/ 40898 w 482860"/>
                    <a:gd name="connsiteY4" fmla="*/ 0 h 191890"/>
                    <a:gd name="connsiteX0" fmla="*/ 18902 w 482860"/>
                    <a:gd name="connsiteY0" fmla="*/ 0 h 204459"/>
                    <a:gd name="connsiteX1" fmla="*/ 482860 w 482860"/>
                    <a:gd name="connsiteY1" fmla="*/ 119406 h 204459"/>
                    <a:gd name="connsiteX2" fmla="*/ 444909 w 482860"/>
                    <a:gd name="connsiteY2" fmla="*/ 204459 h 204459"/>
                    <a:gd name="connsiteX3" fmla="*/ 0 w 482860"/>
                    <a:gd name="connsiteY3" fmla="*/ 71800 h 204459"/>
                    <a:gd name="connsiteX4" fmla="*/ 18902 w 482860"/>
                    <a:gd name="connsiteY4" fmla="*/ 0 h 20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60" h="204459">
                      <a:moveTo>
                        <a:pt x="18902" y="0"/>
                      </a:moveTo>
                      <a:lnTo>
                        <a:pt x="482860" y="119406"/>
                      </a:lnTo>
                      <a:lnTo>
                        <a:pt x="444909" y="204459"/>
                      </a:lnTo>
                      <a:lnTo>
                        <a:pt x="0" y="71800"/>
                      </a:lnTo>
                      <a:lnTo>
                        <a:pt x="1890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SecurityCamera_EB35" title="Icon of a security camera">
                  <a:extLst>
                    <a:ext uri="{FF2B5EF4-FFF2-40B4-BE49-F238E27FC236}">
                      <a16:creationId xmlns:a16="http://schemas.microsoft.com/office/drawing/2014/main" id="{9F1C12AC-E6C1-4793-A670-CAEA2718723B}"/>
                    </a:ext>
                  </a:extLst>
                </p:cNvPr>
                <p:cNvSpPr>
                  <a:spLocks noChangeAspect="1" noEditPoints="1"/>
                </p:cNvSpPr>
                <p:nvPr/>
              </p:nvSpPr>
              <p:spPr bwMode="auto">
                <a:xfrm>
                  <a:off x="7153392" y="2415310"/>
                  <a:ext cx="559588" cy="483107"/>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58" name="Group 157">
            <a:extLst>
              <a:ext uri="{FF2B5EF4-FFF2-40B4-BE49-F238E27FC236}">
                <a16:creationId xmlns:a16="http://schemas.microsoft.com/office/drawing/2014/main" id="{6AF46B1D-CC71-4316-A28E-479B64381C9F}"/>
              </a:ext>
            </a:extLst>
          </p:cNvPr>
          <p:cNvGrpSpPr/>
          <p:nvPr/>
        </p:nvGrpSpPr>
        <p:grpSpPr>
          <a:xfrm>
            <a:off x="7225342" y="1840952"/>
            <a:ext cx="1301662" cy="1664450"/>
            <a:chOff x="7225342" y="1840952"/>
            <a:chExt cx="1301662" cy="1664450"/>
          </a:xfrm>
        </p:grpSpPr>
        <p:grpSp>
          <p:nvGrpSpPr>
            <p:cNvPr id="145" name="Group 144">
              <a:extLst>
                <a:ext uri="{FF2B5EF4-FFF2-40B4-BE49-F238E27FC236}">
                  <a16:creationId xmlns:a16="http://schemas.microsoft.com/office/drawing/2014/main" id="{F3621809-C7E7-4E97-AD75-A22D47D19713}"/>
                </a:ext>
              </a:extLst>
            </p:cNvPr>
            <p:cNvGrpSpPr/>
            <p:nvPr/>
          </p:nvGrpSpPr>
          <p:grpSpPr>
            <a:xfrm>
              <a:off x="7852654" y="1840952"/>
              <a:ext cx="674350" cy="1664450"/>
              <a:chOff x="7900781" y="1840952"/>
              <a:chExt cx="674350" cy="1664450"/>
            </a:xfrm>
          </p:grpSpPr>
          <p:pic>
            <p:nvPicPr>
              <p:cNvPr id="116" name="Graphic 115">
                <a:extLst>
                  <a:ext uri="{FF2B5EF4-FFF2-40B4-BE49-F238E27FC236}">
                    <a16:creationId xmlns:a16="http://schemas.microsoft.com/office/drawing/2014/main" id="{0FDB4F8C-9792-4E19-8D4B-1050DBFE49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00781" y="1840952"/>
                <a:ext cx="674350" cy="716497"/>
              </a:xfrm>
              <a:prstGeom prst="rect">
                <a:avLst/>
              </a:prstGeom>
            </p:spPr>
          </p:pic>
          <p:sp>
            <p:nvSpPr>
              <p:cNvPr id="117" name="Title 1">
                <a:extLst>
                  <a:ext uri="{FF2B5EF4-FFF2-40B4-BE49-F238E27FC236}">
                    <a16:creationId xmlns:a16="http://schemas.microsoft.com/office/drawing/2014/main" id="{93E1C83D-EE88-4B12-8DF0-48C78DC7D760}"/>
                  </a:ext>
                </a:extLst>
              </p:cNvPr>
              <p:cNvSpPr txBox="1">
                <a:spLocks/>
              </p:cNvSpPr>
              <p:nvPr/>
            </p:nvSpPr>
            <p:spPr>
              <a:xfrm>
                <a:off x="7960861" y="253367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18" name="Title 1">
                <a:extLst>
                  <a:ext uri="{FF2B5EF4-FFF2-40B4-BE49-F238E27FC236}">
                    <a16:creationId xmlns:a16="http://schemas.microsoft.com/office/drawing/2014/main" id="{4ADADB28-B601-4EC3-A5FD-B4711B7EBF3B}"/>
                  </a:ext>
                </a:extLst>
              </p:cNvPr>
              <p:cNvSpPr txBox="1">
                <a:spLocks/>
              </p:cNvSpPr>
              <p:nvPr/>
            </p:nvSpPr>
            <p:spPr>
              <a:xfrm>
                <a:off x="7902423" y="3074515"/>
                <a:ext cx="671067"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mport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pdates</a:t>
                </a:r>
              </a:p>
            </p:txBody>
          </p:sp>
        </p:grpSp>
        <p:cxnSp>
          <p:nvCxnSpPr>
            <p:cNvPr id="138" name="Straight Arrow Connector 137">
              <a:extLst>
                <a:ext uri="{FF2B5EF4-FFF2-40B4-BE49-F238E27FC236}">
                  <a16:creationId xmlns:a16="http://schemas.microsoft.com/office/drawing/2014/main" id="{3DF702B6-48DA-47DE-8678-3E758F2FF8D2}"/>
                </a:ext>
              </a:extLst>
            </p:cNvPr>
            <p:cNvCxnSpPr>
              <a:cxnSpLocks/>
            </p:cNvCxnSpPr>
            <p:nvPr/>
          </p:nvCxnSpPr>
          <p:spPr>
            <a:xfrm flipH="1">
              <a:off x="7225342" y="2817944"/>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9" name="Group 158">
            <a:extLst>
              <a:ext uri="{FF2B5EF4-FFF2-40B4-BE49-F238E27FC236}">
                <a16:creationId xmlns:a16="http://schemas.microsoft.com/office/drawing/2014/main" id="{A2E19B68-5BFC-417C-A8E1-B4F999AF35FB}"/>
              </a:ext>
            </a:extLst>
          </p:cNvPr>
          <p:cNvGrpSpPr/>
          <p:nvPr/>
        </p:nvGrpSpPr>
        <p:grpSpPr>
          <a:xfrm>
            <a:off x="8645839" y="1233697"/>
            <a:ext cx="1508816" cy="1903909"/>
            <a:chOff x="8645839" y="1233697"/>
            <a:chExt cx="1508816" cy="1903909"/>
          </a:xfrm>
        </p:grpSpPr>
        <p:grpSp>
          <p:nvGrpSpPr>
            <p:cNvPr id="146" name="Group 145">
              <a:extLst>
                <a:ext uri="{FF2B5EF4-FFF2-40B4-BE49-F238E27FC236}">
                  <a16:creationId xmlns:a16="http://schemas.microsoft.com/office/drawing/2014/main" id="{42F10535-D1BA-4184-9B0E-51035D53A563}"/>
                </a:ext>
              </a:extLst>
            </p:cNvPr>
            <p:cNvGrpSpPr/>
            <p:nvPr/>
          </p:nvGrpSpPr>
          <p:grpSpPr>
            <a:xfrm>
              <a:off x="9123845" y="1233697"/>
              <a:ext cx="1030810" cy="1903909"/>
              <a:chOff x="9027590" y="1233697"/>
              <a:chExt cx="1030810" cy="1903909"/>
            </a:xfrm>
          </p:grpSpPr>
          <p:pic>
            <p:nvPicPr>
              <p:cNvPr id="115" name="Graphic 114">
                <a:extLst>
                  <a:ext uri="{FF2B5EF4-FFF2-40B4-BE49-F238E27FC236}">
                    <a16:creationId xmlns:a16="http://schemas.microsoft.com/office/drawing/2014/main" id="{331634E5-8D91-4663-BD6C-9CC5EEDD8E0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87187" y="1233697"/>
                <a:ext cx="639423" cy="719349"/>
              </a:xfrm>
              <a:prstGeom prst="rect">
                <a:avLst/>
              </a:prstGeom>
            </p:spPr>
          </p:pic>
          <p:sp>
            <p:nvSpPr>
              <p:cNvPr id="121" name="Title 1">
                <a:extLst>
                  <a:ext uri="{FF2B5EF4-FFF2-40B4-BE49-F238E27FC236}">
                    <a16:creationId xmlns:a16="http://schemas.microsoft.com/office/drawing/2014/main" id="{964E84BD-70D9-4CC7-BC4D-58BB09612179}"/>
                  </a:ext>
                </a:extLst>
              </p:cNvPr>
              <p:cNvSpPr txBox="1">
                <a:spLocks/>
              </p:cNvSpPr>
              <p:nvPr/>
            </p:nvSpPr>
            <p:spPr>
              <a:xfrm>
                <a:off x="9265899" y="195043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7.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2" name="Title 1">
                <a:extLst>
                  <a:ext uri="{FF2B5EF4-FFF2-40B4-BE49-F238E27FC236}">
                    <a16:creationId xmlns:a16="http://schemas.microsoft.com/office/drawing/2014/main" id="{A310D193-C048-41A7-BC48-99BD3C0EFE20}"/>
                  </a:ext>
                </a:extLst>
              </p:cNvPr>
              <p:cNvSpPr txBox="1">
                <a:spLocks/>
              </p:cNvSpPr>
              <p:nvPr/>
            </p:nvSpPr>
            <p:spPr>
              <a:xfrm>
                <a:off x="9027590" y="2491275"/>
                <a:ext cx="1030810"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ploy and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onitor updates </a:t>
                </a:r>
              </a:p>
            </p:txBody>
          </p:sp>
        </p:grpSp>
        <p:cxnSp>
          <p:nvCxnSpPr>
            <p:cNvPr id="139" name="Straight Arrow Connector 138">
              <a:extLst>
                <a:ext uri="{FF2B5EF4-FFF2-40B4-BE49-F238E27FC236}">
                  <a16:creationId xmlns:a16="http://schemas.microsoft.com/office/drawing/2014/main" id="{0237B98B-E142-4745-AB9D-89E80F51DFDD}"/>
                </a:ext>
              </a:extLst>
            </p:cNvPr>
            <p:cNvCxnSpPr>
              <a:cxnSpLocks/>
            </p:cNvCxnSpPr>
            <p:nvPr/>
          </p:nvCxnSpPr>
          <p:spPr>
            <a:xfrm flipH="1">
              <a:off x="8645839" y="2196826"/>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60" name="Group 159">
            <a:extLst>
              <a:ext uri="{FF2B5EF4-FFF2-40B4-BE49-F238E27FC236}">
                <a16:creationId xmlns:a16="http://schemas.microsoft.com/office/drawing/2014/main" id="{734F4C95-DCC7-4E0A-AC42-B144A05CBD6A}"/>
              </a:ext>
            </a:extLst>
          </p:cNvPr>
          <p:cNvGrpSpPr/>
          <p:nvPr/>
        </p:nvGrpSpPr>
        <p:grpSpPr>
          <a:xfrm>
            <a:off x="10145099" y="733926"/>
            <a:ext cx="1588552" cy="1509053"/>
            <a:chOff x="10145099" y="733926"/>
            <a:chExt cx="1588552" cy="1509053"/>
          </a:xfrm>
        </p:grpSpPr>
        <p:cxnSp>
          <p:nvCxnSpPr>
            <p:cNvPr id="147" name="Straight Arrow Connector 146">
              <a:extLst>
                <a:ext uri="{FF2B5EF4-FFF2-40B4-BE49-F238E27FC236}">
                  <a16:creationId xmlns:a16="http://schemas.microsoft.com/office/drawing/2014/main" id="{5A54256F-AC89-47B7-9757-0AC895347E24}"/>
                </a:ext>
              </a:extLst>
            </p:cNvPr>
            <p:cNvCxnSpPr>
              <a:cxnSpLocks/>
            </p:cNvCxnSpPr>
            <p:nvPr/>
          </p:nvCxnSpPr>
          <p:spPr>
            <a:xfrm flipH="1">
              <a:off x="10145099" y="1571184"/>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nvGrpSpPr>
            <p:cNvPr id="151" name="Group 150">
              <a:extLst>
                <a:ext uri="{FF2B5EF4-FFF2-40B4-BE49-F238E27FC236}">
                  <a16:creationId xmlns:a16="http://schemas.microsoft.com/office/drawing/2014/main" id="{654567DA-7AB5-4C19-B495-7B83712F278C}"/>
                </a:ext>
              </a:extLst>
            </p:cNvPr>
            <p:cNvGrpSpPr/>
            <p:nvPr/>
          </p:nvGrpSpPr>
          <p:grpSpPr>
            <a:xfrm>
              <a:off x="10702841" y="733926"/>
              <a:ext cx="1030810" cy="1509053"/>
              <a:chOff x="10498297" y="733926"/>
              <a:chExt cx="1030810" cy="1509053"/>
            </a:xfrm>
          </p:grpSpPr>
          <p:sp>
            <p:nvSpPr>
              <p:cNvPr id="148" name="Title 1">
                <a:extLst>
                  <a:ext uri="{FF2B5EF4-FFF2-40B4-BE49-F238E27FC236}">
                    <a16:creationId xmlns:a16="http://schemas.microsoft.com/office/drawing/2014/main" id="{F5039EDC-94A3-48CE-8EE4-36624A74F297}"/>
                  </a:ext>
                </a:extLst>
              </p:cNvPr>
              <p:cNvSpPr txBox="1">
                <a:spLocks/>
              </p:cNvSpPr>
              <p:nvPr/>
            </p:nvSpPr>
            <p:spPr>
              <a:xfrm>
                <a:off x="10736607" y="1271247"/>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8.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49" name="Title 1">
                <a:extLst>
                  <a:ext uri="{FF2B5EF4-FFF2-40B4-BE49-F238E27FC236}">
                    <a16:creationId xmlns:a16="http://schemas.microsoft.com/office/drawing/2014/main" id="{6610FDD4-1D46-4BEC-B52F-6D2EF4EDF297}"/>
                  </a:ext>
                </a:extLst>
              </p:cNvPr>
              <p:cNvSpPr txBox="1">
                <a:spLocks/>
              </p:cNvSpPr>
              <p:nvPr/>
            </p:nvSpPr>
            <p:spPr>
              <a:xfrm>
                <a:off x="10498297" y="1812092"/>
                <a:ext cx="103081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View reporting</a:t>
                </a:r>
              </a:p>
            </p:txBody>
          </p:sp>
          <p:pic>
            <p:nvPicPr>
              <p:cNvPr id="150" name="Graphic 149">
                <a:extLst>
                  <a:ext uri="{FF2B5EF4-FFF2-40B4-BE49-F238E27FC236}">
                    <a16:creationId xmlns:a16="http://schemas.microsoft.com/office/drawing/2014/main" id="{61E8BE2D-E20C-41ED-B0D4-82A85FB8D6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80929" y="733926"/>
                <a:ext cx="665546" cy="499160"/>
              </a:xfrm>
              <a:prstGeom prst="rect">
                <a:avLst/>
              </a:prstGeom>
            </p:spPr>
          </p:pic>
        </p:grpSp>
      </p:grpSp>
    </p:spTree>
    <p:extLst>
      <p:ext uri="{BB962C8B-B14F-4D97-AF65-F5344CB8AC3E}">
        <p14:creationId xmlns:p14="http://schemas.microsoft.com/office/powerpoint/2010/main" val="3731221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42" presetClass="path" presetSubtype="0" decel="100000" fill="hold" nodeType="withEffect">
                                  <p:stCondLst>
                                    <p:cond delay="0"/>
                                  </p:stCondLst>
                                  <p:childTnLst>
                                    <p:animMotion origin="layout" path="M 0 4.44444E-6 L 0 0.01898 " pathEditMode="relative" rAng="0" ptsTypes="AA">
                                      <p:cBhvr>
                                        <p:cTn id="9" dur="700" spd="-100000" fill="hold"/>
                                        <p:tgtEl>
                                          <p:spTgt spid="140"/>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54"/>
                                        </p:tgtEl>
                                        <p:attrNameLst>
                                          <p:attrName>style.visibility</p:attrName>
                                        </p:attrNameLst>
                                      </p:cBhvr>
                                      <p:to>
                                        <p:strVal val="visible"/>
                                      </p:to>
                                    </p:set>
                                    <p:animEffect transition="in" filter="fade">
                                      <p:cBhvr>
                                        <p:cTn id="12" dur="500"/>
                                        <p:tgtEl>
                                          <p:spTgt spid="154"/>
                                        </p:tgtEl>
                                      </p:cBhvr>
                                    </p:animEffect>
                                  </p:childTnLst>
                                </p:cTn>
                              </p:par>
                              <p:par>
                                <p:cTn id="13" presetID="42" presetClass="path" presetSubtype="0" decel="100000" fill="hold" nodeType="withEffect">
                                  <p:stCondLst>
                                    <p:cond delay="250"/>
                                  </p:stCondLst>
                                  <p:childTnLst>
                                    <p:animMotion origin="layout" path="M 0 4.44444E-6 L 0 0.01898 " pathEditMode="relative" rAng="0" ptsTypes="AA">
                                      <p:cBhvr>
                                        <p:cTn id="14" dur="700" spd="-100000" fill="hold"/>
                                        <p:tgtEl>
                                          <p:spTgt spid="154"/>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155"/>
                                        </p:tgtEl>
                                        <p:attrNameLst>
                                          <p:attrName>style.visibility</p:attrName>
                                        </p:attrNameLst>
                                      </p:cBhvr>
                                      <p:to>
                                        <p:strVal val="visible"/>
                                      </p:to>
                                    </p:set>
                                    <p:animEffect transition="in" filter="fade">
                                      <p:cBhvr>
                                        <p:cTn id="17" dur="500"/>
                                        <p:tgtEl>
                                          <p:spTgt spid="155"/>
                                        </p:tgtEl>
                                      </p:cBhvr>
                                    </p:animEffect>
                                  </p:childTnLst>
                                </p:cTn>
                              </p:par>
                              <p:par>
                                <p:cTn id="18" presetID="42" presetClass="path" presetSubtype="0" decel="100000" fill="hold" nodeType="withEffect">
                                  <p:stCondLst>
                                    <p:cond delay="500"/>
                                  </p:stCondLst>
                                  <p:childTnLst>
                                    <p:animMotion origin="layout" path="M 0 4.44444E-6 L 0 0.01898 " pathEditMode="relative" rAng="0" ptsTypes="AA">
                                      <p:cBhvr>
                                        <p:cTn id="19" dur="700" spd="-100000" fill="hold"/>
                                        <p:tgtEl>
                                          <p:spTgt spid="155"/>
                                        </p:tgtEl>
                                        <p:attrNameLst>
                                          <p:attrName>ppt_x</p:attrName>
                                          <p:attrName>ppt_y</p:attrName>
                                        </p:attrNameLst>
                                      </p:cBhvr>
                                      <p:rCtr x="0" y="949"/>
                                    </p:animMotion>
                                  </p:childTnLst>
                                </p:cTn>
                              </p:par>
                              <p:par>
                                <p:cTn id="20" presetID="10" presetClass="entr" presetSubtype="0" fill="hold" nodeType="withEffect">
                                  <p:stCondLst>
                                    <p:cond delay="750"/>
                                  </p:stCondLst>
                                  <p:childTnLst>
                                    <p:set>
                                      <p:cBhvr>
                                        <p:cTn id="21" dur="1" fill="hold">
                                          <p:stCondLst>
                                            <p:cond delay="0"/>
                                          </p:stCondLst>
                                        </p:cTn>
                                        <p:tgtEl>
                                          <p:spTgt spid="156"/>
                                        </p:tgtEl>
                                        <p:attrNameLst>
                                          <p:attrName>style.visibility</p:attrName>
                                        </p:attrNameLst>
                                      </p:cBhvr>
                                      <p:to>
                                        <p:strVal val="visible"/>
                                      </p:to>
                                    </p:set>
                                    <p:animEffect transition="in" filter="fade">
                                      <p:cBhvr>
                                        <p:cTn id="22" dur="500"/>
                                        <p:tgtEl>
                                          <p:spTgt spid="156"/>
                                        </p:tgtEl>
                                      </p:cBhvr>
                                    </p:animEffect>
                                  </p:childTnLst>
                                </p:cTn>
                              </p:par>
                              <p:par>
                                <p:cTn id="23" presetID="42" presetClass="path" presetSubtype="0" decel="100000" fill="hold" nodeType="withEffect">
                                  <p:stCondLst>
                                    <p:cond delay="750"/>
                                  </p:stCondLst>
                                  <p:childTnLst>
                                    <p:animMotion origin="layout" path="M 0 4.44444E-6 L 0 0.01898 " pathEditMode="relative" rAng="0" ptsTypes="AA">
                                      <p:cBhvr>
                                        <p:cTn id="24" dur="700" spd="-100000" fill="hold"/>
                                        <p:tgtEl>
                                          <p:spTgt spid="156"/>
                                        </p:tgtEl>
                                        <p:attrNameLst>
                                          <p:attrName>ppt_x</p:attrName>
                                          <p:attrName>ppt_y</p:attrName>
                                        </p:attrNameLst>
                                      </p:cBhvr>
                                      <p:rCtr x="0" y="949"/>
                                    </p:animMotion>
                                  </p:childTnLst>
                                </p:cTn>
                              </p:par>
                              <p:par>
                                <p:cTn id="25" presetID="10" presetClass="entr" presetSubtype="0" fill="hold" nodeType="withEffect">
                                  <p:stCondLst>
                                    <p:cond delay="1000"/>
                                  </p:stCondLst>
                                  <p:childTnLst>
                                    <p:set>
                                      <p:cBhvr>
                                        <p:cTn id="26" dur="1" fill="hold">
                                          <p:stCondLst>
                                            <p:cond delay="0"/>
                                          </p:stCondLst>
                                        </p:cTn>
                                        <p:tgtEl>
                                          <p:spTgt spid="157"/>
                                        </p:tgtEl>
                                        <p:attrNameLst>
                                          <p:attrName>style.visibility</p:attrName>
                                        </p:attrNameLst>
                                      </p:cBhvr>
                                      <p:to>
                                        <p:strVal val="visible"/>
                                      </p:to>
                                    </p:set>
                                    <p:animEffect transition="in" filter="fade">
                                      <p:cBhvr>
                                        <p:cTn id="27" dur="500"/>
                                        <p:tgtEl>
                                          <p:spTgt spid="157"/>
                                        </p:tgtEl>
                                      </p:cBhvr>
                                    </p:animEffect>
                                  </p:childTnLst>
                                </p:cTn>
                              </p:par>
                              <p:par>
                                <p:cTn id="28" presetID="42" presetClass="path" presetSubtype="0" decel="100000" fill="hold" nodeType="withEffect">
                                  <p:stCondLst>
                                    <p:cond delay="1000"/>
                                  </p:stCondLst>
                                  <p:childTnLst>
                                    <p:animMotion origin="layout" path="M 0 4.44444E-6 L 0 0.01898 " pathEditMode="relative" rAng="0" ptsTypes="AA">
                                      <p:cBhvr>
                                        <p:cTn id="29" dur="700" spd="-100000" fill="hold"/>
                                        <p:tgtEl>
                                          <p:spTgt spid="157"/>
                                        </p:tgtEl>
                                        <p:attrNameLst>
                                          <p:attrName>ppt_x</p:attrName>
                                          <p:attrName>ppt_y</p:attrName>
                                        </p:attrNameLst>
                                      </p:cBhvr>
                                      <p:rCtr x="0" y="949"/>
                                    </p:animMotion>
                                  </p:childTnLst>
                                </p:cTn>
                              </p:par>
                              <p:par>
                                <p:cTn id="30" presetID="10" presetClass="entr" presetSubtype="0" fill="hold" nodeType="withEffect">
                                  <p:stCondLst>
                                    <p:cond delay="1250"/>
                                  </p:stCondLst>
                                  <p:childTnLst>
                                    <p:set>
                                      <p:cBhvr>
                                        <p:cTn id="31" dur="1" fill="hold">
                                          <p:stCondLst>
                                            <p:cond delay="0"/>
                                          </p:stCondLst>
                                        </p:cTn>
                                        <p:tgtEl>
                                          <p:spTgt spid="158"/>
                                        </p:tgtEl>
                                        <p:attrNameLst>
                                          <p:attrName>style.visibility</p:attrName>
                                        </p:attrNameLst>
                                      </p:cBhvr>
                                      <p:to>
                                        <p:strVal val="visible"/>
                                      </p:to>
                                    </p:set>
                                    <p:animEffect transition="in" filter="fade">
                                      <p:cBhvr>
                                        <p:cTn id="32" dur="500"/>
                                        <p:tgtEl>
                                          <p:spTgt spid="158"/>
                                        </p:tgtEl>
                                      </p:cBhvr>
                                    </p:animEffect>
                                  </p:childTnLst>
                                </p:cTn>
                              </p:par>
                              <p:par>
                                <p:cTn id="33" presetID="42" presetClass="path" presetSubtype="0" decel="100000" fill="hold" nodeType="withEffect">
                                  <p:stCondLst>
                                    <p:cond delay="1250"/>
                                  </p:stCondLst>
                                  <p:childTnLst>
                                    <p:animMotion origin="layout" path="M 0 4.44444E-6 L 0 0.01898 " pathEditMode="relative" rAng="0" ptsTypes="AA">
                                      <p:cBhvr>
                                        <p:cTn id="34" dur="700" spd="-100000" fill="hold"/>
                                        <p:tgtEl>
                                          <p:spTgt spid="158"/>
                                        </p:tgtEl>
                                        <p:attrNameLst>
                                          <p:attrName>ppt_x</p:attrName>
                                          <p:attrName>ppt_y</p:attrName>
                                        </p:attrNameLst>
                                      </p:cBhvr>
                                      <p:rCtr x="0" y="949"/>
                                    </p:animMotion>
                                  </p:childTnLst>
                                </p:cTn>
                              </p:par>
                              <p:par>
                                <p:cTn id="35" presetID="10" presetClass="entr" presetSubtype="0" fill="hold" nodeType="withEffect">
                                  <p:stCondLst>
                                    <p:cond delay="150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par>
                                <p:cTn id="38" presetID="42" presetClass="path" presetSubtype="0" decel="100000" fill="hold" nodeType="withEffect">
                                  <p:stCondLst>
                                    <p:cond delay="1500"/>
                                  </p:stCondLst>
                                  <p:childTnLst>
                                    <p:animMotion origin="layout" path="M 0 4.44444E-6 L 0 0.01898 " pathEditMode="relative" rAng="0" ptsTypes="AA">
                                      <p:cBhvr>
                                        <p:cTn id="39" dur="700" spd="-100000" fill="hold"/>
                                        <p:tgtEl>
                                          <p:spTgt spid="159"/>
                                        </p:tgtEl>
                                        <p:attrNameLst>
                                          <p:attrName>ppt_x</p:attrName>
                                          <p:attrName>ppt_y</p:attrName>
                                        </p:attrNameLst>
                                      </p:cBhvr>
                                      <p:rCtr x="0" y="949"/>
                                    </p:animMotion>
                                  </p:childTnLst>
                                </p:cTn>
                              </p:par>
                              <p:par>
                                <p:cTn id="40" presetID="10" presetClass="entr" presetSubtype="0" fill="hold" nodeType="withEffect">
                                  <p:stCondLst>
                                    <p:cond delay="1750"/>
                                  </p:stCondLst>
                                  <p:childTnLst>
                                    <p:set>
                                      <p:cBhvr>
                                        <p:cTn id="41" dur="1" fill="hold">
                                          <p:stCondLst>
                                            <p:cond delay="0"/>
                                          </p:stCondLst>
                                        </p:cTn>
                                        <p:tgtEl>
                                          <p:spTgt spid="160"/>
                                        </p:tgtEl>
                                        <p:attrNameLst>
                                          <p:attrName>style.visibility</p:attrName>
                                        </p:attrNameLst>
                                      </p:cBhvr>
                                      <p:to>
                                        <p:strVal val="visible"/>
                                      </p:to>
                                    </p:set>
                                    <p:animEffect transition="in" filter="fade">
                                      <p:cBhvr>
                                        <p:cTn id="42" dur="500"/>
                                        <p:tgtEl>
                                          <p:spTgt spid="160"/>
                                        </p:tgtEl>
                                      </p:cBhvr>
                                    </p:animEffect>
                                  </p:childTnLst>
                                </p:cTn>
                              </p:par>
                              <p:par>
                                <p:cTn id="43" presetID="42" presetClass="path" presetSubtype="0" decel="100000" fill="hold" nodeType="withEffect">
                                  <p:stCondLst>
                                    <p:cond delay="1750"/>
                                  </p:stCondLst>
                                  <p:childTnLst>
                                    <p:animMotion origin="layout" path="M 0 4.44444E-6 L 0 0.01898 " pathEditMode="relative" rAng="0" ptsTypes="AA">
                                      <p:cBhvr>
                                        <p:cTn id="44" dur="700" spd="-100000" fill="hold"/>
                                        <p:tgtEl>
                                          <p:spTgt spid="16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22154-BB3B-4F39-8AA8-6E65C5EA422B}"/>
              </a:ext>
            </a:extLst>
          </p:cNvPr>
          <p:cNvSpPr>
            <a:spLocks noGrp="1"/>
          </p:cNvSpPr>
          <p:nvPr>
            <p:ph type="title"/>
          </p:nvPr>
        </p:nvSpPr>
        <p:spPr>
          <a:xfrm>
            <a:off x="589699" y="457201"/>
            <a:ext cx="11015651" cy="492443"/>
          </a:xfrm>
        </p:spPr>
        <p:txBody>
          <a:bodyPr/>
          <a:lstStyle/>
          <a:p>
            <a:r>
              <a:rPr lang="en-US" sz="3200"/>
              <a:t>Simplifying IoT with developer tools</a:t>
            </a:r>
          </a:p>
        </p:txBody>
      </p:sp>
      <p:sp>
        <p:nvSpPr>
          <p:cNvPr id="3" name="TextBox 2">
            <a:extLst>
              <a:ext uri="{FF2B5EF4-FFF2-40B4-BE49-F238E27FC236}">
                <a16:creationId xmlns:a16="http://schemas.microsoft.com/office/drawing/2014/main" id="{ABDFC5DA-3A20-42F4-8A44-6C1D75F06D65}"/>
              </a:ext>
            </a:extLst>
          </p:cNvPr>
          <p:cNvSpPr txBox="1"/>
          <p:nvPr/>
        </p:nvSpPr>
        <p:spPr>
          <a:xfrm>
            <a:off x="1511015" y="905814"/>
            <a:ext cx="3942108" cy="6862648"/>
          </a:xfrm>
          <a:prstGeom prst="rect">
            <a:avLst/>
          </a:prstGeom>
          <a:noFill/>
        </p:spPr>
        <p:txBody>
          <a:bodyPr wrap="square">
            <a:spAutoFit/>
          </a:bodyPr>
          <a:lstStyle/>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399" b="0" i="0" u="sng" strike="noStrike" kern="1200" cap="none" spc="0" normalizeH="0" baseline="0" noProof="0" dirty="0">
              <a:ln>
                <a:noFill/>
              </a:ln>
              <a:solidFill>
                <a:srgbClr val="0070C0"/>
              </a:solidFill>
              <a:effectLst/>
              <a:uLnTx/>
              <a:uFillTx/>
              <a:latin typeface="Segoe UI Semibold" panose="020B07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Explorer</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Graphical tool for interacting with and testing your IoT devices </a:t>
            </a: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S Code</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Tools Extension Pack</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isual Studio</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Hub &amp; IoT Edge Support</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CLI extension</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Open-source cross platform command-line tool for managing Azure resources such as IoT Hub</a:t>
            </a: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1999"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mn-cs"/>
              </a:rPr>
              <a:t>	</a:t>
            </a:r>
          </a:p>
        </p:txBody>
      </p:sp>
      <p:sp>
        <p:nvSpPr>
          <p:cNvPr id="10" name="TextBox 9">
            <a:extLst>
              <a:ext uri="{FF2B5EF4-FFF2-40B4-BE49-F238E27FC236}">
                <a16:creationId xmlns:a16="http://schemas.microsoft.com/office/drawing/2014/main" id="{EA576C40-A7A3-45F3-B975-04E16DE23C3E}"/>
              </a:ext>
            </a:extLst>
          </p:cNvPr>
          <p:cNvSpPr txBox="1"/>
          <p:nvPr/>
        </p:nvSpPr>
        <p:spPr>
          <a:xfrm>
            <a:off x="5900574" y="1259332"/>
            <a:ext cx="5329126" cy="1077090"/>
          </a:xfrm>
          <a:prstGeom prst="rect">
            <a:avLst/>
          </a:prstGeom>
          <a:noFill/>
        </p:spPr>
        <p:txBody>
          <a:bodyPr wrap="square">
            <a:spAutoFit/>
          </a:bodyPr>
          <a:lstStyle/>
          <a:p>
            <a:pPr marL="0" marR="0" lvl="0" indent="0"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endor Tooling</a:t>
            </a:r>
          </a:p>
          <a:p>
            <a:pPr marL="0" marR="0" lvl="0" indent="0" defTabSz="609443"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Samples with Azure RTOS, Embedded C SDK, IoT Plug and Play</a:t>
            </a:r>
          </a:p>
        </p:txBody>
      </p:sp>
      <p:pic>
        <p:nvPicPr>
          <p:cNvPr id="1026" name="Picture 2" descr="MPLAB X IDE Badge">
            <a:extLst>
              <a:ext uri="{FF2B5EF4-FFF2-40B4-BE49-F238E27FC236}">
                <a16:creationId xmlns:a16="http://schemas.microsoft.com/office/drawing/2014/main" id="{61C25743-5D92-4901-A01F-D6FE79B88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6932" y="2456356"/>
            <a:ext cx="1156638" cy="115663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Visual Studio Code">
            <a:extLst>
              <a:ext uri="{FF2B5EF4-FFF2-40B4-BE49-F238E27FC236}">
                <a16:creationId xmlns:a16="http://schemas.microsoft.com/office/drawing/2014/main" id="{382B76B9-3FEB-419F-B19C-D29200B6E1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834" y="2406784"/>
            <a:ext cx="1022128" cy="10221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2874FD4-C54B-4BD3-9FA1-735114D7FC60}"/>
              </a:ext>
            </a:extLst>
          </p:cNvPr>
          <p:cNvPicPr>
            <a:picLocks noChangeAspect="1"/>
          </p:cNvPicPr>
          <p:nvPr/>
        </p:nvPicPr>
        <p:blipFill>
          <a:blip r:embed="rId5"/>
          <a:stretch>
            <a:fillRect/>
          </a:stretch>
        </p:blipFill>
        <p:spPr>
          <a:xfrm>
            <a:off x="371367" y="1286016"/>
            <a:ext cx="860541" cy="761903"/>
          </a:xfrm>
          <a:prstGeom prst="rect">
            <a:avLst/>
          </a:prstGeom>
        </p:spPr>
      </p:pic>
      <p:pic>
        <p:nvPicPr>
          <p:cNvPr id="4" name="Picture 2" descr="See the source image">
            <a:extLst>
              <a:ext uri="{FF2B5EF4-FFF2-40B4-BE49-F238E27FC236}">
                <a16:creationId xmlns:a16="http://schemas.microsoft.com/office/drawing/2014/main" id="{3BB27F74-1133-4869-A6FA-518AF9305C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539" y="3514992"/>
            <a:ext cx="1228718" cy="9215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PLAB XC Compilers Badge">
            <a:extLst>
              <a:ext uri="{FF2B5EF4-FFF2-40B4-BE49-F238E27FC236}">
                <a16:creationId xmlns:a16="http://schemas.microsoft.com/office/drawing/2014/main" id="{36ABD393-8682-4F9A-B470-B0DA124E56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2230" y="3209134"/>
            <a:ext cx="1421882" cy="12974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C6F57B7-092E-42BE-A81C-A62EB9C366E3}"/>
              </a:ext>
            </a:extLst>
          </p:cNvPr>
          <p:cNvPicPr>
            <a:picLocks noChangeAspect="1"/>
          </p:cNvPicPr>
          <p:nvPr/>
        </p:nvPicPr>
        <p:blipFill>
          <a:blip r:embed="rId8"/>
          <a:stretch>
            <a:fillRect/>
          </a:stretch>
        </p:blipFill>
        <p:spPr>
          <a:xfrm>
            <a:off x="7234737" y="3689704"/>
            <a:ext cx="1421882" cy="965111"/>
          </a:xfrm>
          <a:prstGeom prst="rect">
            <a:avLst/>
          </a:prstGeom>
        </p:spPr>
      </p:pic>
      <p:pic>
        <p:nvPicPr>
          <p:cNvPr id="15" name="Picture 14">
            <a:extLst>
              <a:ext uri="{FF2B5EF4-FFF2-40B4-BE49-F238E27FC236}">
                <a16:creationId xmlns:a16="http://schemas.microsoft.com/office/drawing/2014/main" id="{80E68328-4644-4424-B1C2-55F088C85532}"/>
              </a:ext>
            </a:extLst>
          </p:cNvPr>
          <p:cNvPicPr>
            <a:picLocks noChangeAspect="1"/>
          </p:cNvPicPr>
          <p:nvPr/>
        </p:nvPicPr>
        <p:blipFill>
          <a:blip r:embed="rId9"/>
          <a:stretch>
            <a:fillRect/>
          </a:stretch>
        </p:blipFill>
        <p:spPr>
          <a:xfrm>
            <a:off x="281834" y="4781411"/>
            <a:ext cx="1104900" cy="790575"/>
          </a:xfrm>
          <a:prstGeom prst="rect">
            <a:avLst/>
          </a:prstGeom>
        </p:spPr>
      </p:pic>
      <p:grpSp>
        <p:nvGrpSpPr>
          <p:cNvPr id="18" name="Group 17">
            <a:extLst>
              <a:ext uri="{FF2B5EF4-FFF2-40B4-BE49-F238E27FC236}">
                <a16:creationId xmlns:a16="http://schemas.microsoft.com/office/drawing/2014/main" id="{99A9EB65-7289-4D06-B8F6-41D6BEA5D3AD}"/>
              </a:ext>
            </a:extLst>
          </p:cNvPr>
          <p:cNvGrpSpPr/>
          <p:nvPr/>
        </p:nvGrpSpPr>
        <p:grpSpPr>
          <a:xfrm>
            <a:off x="8619693" y="2472684"/>
            <a:ext cx="3229740" cy="2280619"/>
            <a:chOff x="5142735" y="1148380"/>
            <a:chExt cx="7049265" cy="4561239"/>
          </a:xfrm>
        </p:grpSpPr>
        <p:pic>
          <p:nvPicPr>
            <p:cNvPr id="19" name="Picture 18" descr="A close up of a logo&#10;&#10;Description automatically generated">
              <a:extLst>
                <a:ext uri="{FF2B5EF4-FFF2-40B4-BE49-F238E27FC236}">
                  <a16:creationId xmlns:a16="http://schemas.microsoft.com/office/drawing/2014/main" id="{13BDEBE7-A79C-4108-B146-1C8578E4B83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66703" y="1167657"/>
              <a:ext cx="1872660" cy="415395"/>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9C0E6839-AA17-4331-BA68-9180206FD1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40492"/>
            <a:stretch/>
          </p:blipFill>
          <p:spPr>
            <a:xfrm>
              <a:off x="5498494" y="2218856"/>
              <a:ext cx="1193482" cy="501890"/>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D5D9AB31-E766-4B4B-9FAD-E874F7F1AFF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80750" y="2042308"/>
              <a:ext cx="1604527" cy="854987"/>
            </a:xfrm>
            <a:prstGeom prst="rect">
              <a:avLst/>
            </a:prstGeom>
          </p:spPr>
        </p:pic>
        <p:pic>
          <p:nvPicPr>
            <p:cNvPr id="22" name="Picture 21" descr="IAR Systems">
              <a:extLst>
                <a:ext uri="{FF2B5EF4-FFF2-40B4-BE49-F238E27FC236}">
                  <a16:creationId xmlns:a16="http://schemas.microsoft.com/office/drawing/2014/main" id="{4D61D181-7FFB-4970-8F28-C901A23B1353}"/>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301863" y="3545500"/>
              <a:ext cx="1586745" cy="110305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RM Keil Microcontroller Tools – L-Tek">
              <a:extLst>
                <a:ext uri="{FF2B5EF4-FFF2-40B4-BE49-F238E27FC236}">
                  <a16:creationId xmlns:a16="http://schemas.microsoft.com/office/drawing/2014/main" id="{6D9871D0-8ECE-4CF7-9539-14F0E8C5EA05}"/>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7240319" y="3552343"/>
              <a:ext cx="2285388" cy="108936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Cortex-M3 processors">
              <a:extLst>
                <a:ext uri="{FF2B5EF4-FFF2-40B4-BE49-F238E27FC236}">
                  <a16:creationId xmlns:a16="http://schemas.microsoft.com/office/drawing/2014/main" id="{424AABEF-3BE5-48DA-8D3D-191E91646E91}"/>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7603479" y="5015833"/>
              <a:ext cx="1559068" cy="6937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drawing&#10;&#10;Description automatically generated">
              <a:extLst>
                <a:ext uri="{FF2B5EF4-FFF2-40B4-BE49-F238E27FC236}">
                  <a16:creationId xmlns:a16="http://schemas.microsoft.com/office/drawing/2014/main" id="{56EA4D9D-60F0-47E3-B476-8820CAA832B1}"/>
                </a:ext>
              </a:extLst>
            </p:cNvPr>
            <p:cNvPicPr>
              <a:picLocks noChangeAspect="1"/>
            </p:cNvPicPr>
            <p:nvPr/>
          </p:nvPicPr>
          <p:blipFill rotWithShape="1">
            <a:blip r:embed="rId16">
              <a:extLst>
                <a:ext uri="{28A0092B-C50C-407E-A947-70E740481C1C}">
                  <a14:useLocalDpi xmlns:a14="http://schemas.microsoft.com/office/drawing/2010/main" val="0"/>
                </a:ext>
              </a:extLst>
            </a:blip>
            <a:srcRect l="10335" t="29526" r="11006" b="27371"/>
            <a:stretch/>
          </p:blipFill>
          <p:spPr>
            <a:xfrm>
              <a:off x="5921914" y="1148380"/>
              <a:ext cx="2149006" cy="449792"/>
            </a:xfrm>
            <a:prstGeom prst="rect">
              <a:avLst/>
            </a:prstGeom>
          </p:spPr>
        </p:pic>
        <p:pic>
          <p:nvPicPr>
            <p:cNvPr id="26" name="Picture 25" descr="Eclipse IDE">
              <a:extLst>
                <a:ext uri="{FF2B5EF4-FFF2-40B4-BE49-F238E27FC236}">
                  <a16:creationId xmlns:a16="http://schemas.microsoft.com/office/drawing/2014/main" id="{0D7EF26C-F49F-40FE-8268-3ACC926EE2C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3033" y="3858395"/>
              <a:ext cx="2045423" cy="47726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2A94D53-7601-4D32-B9CF-3EA6F222AF97}"/>
                </a:ext>
              </a:extLst>
            </p:cNvPr>
            <p:cNvPicPr>
              <a:picLocks noChangeAspect="1"/>
            </p:cNvPicPr>
            <p:nvPr/>
          </p:nvPicPr>
          <p:blipFill>
            <a:blip r:embed="rId18"/>
            <a:stretch>
              <a:fillRect/>
            </a:stretch>
          </p:blipFill>
          <p:spPr>
            <a:xfrm>
              <a:off x="10238753" y="5263837"/>
              <a:ext cx="1373982" cy="197778"/>
            </a:xfrm>
            <a:prstGeom prst="rect">
              <a:avLst/>
            </a:prstGeom>
          </p:spPr>
        </p:pic>
        <p:pic>
          <p:nvPicPr>
            <p:cNvPr id="28" name="Picture 27" descr="A picture containing clock, meter&#10;&#10;Description generated with very high confidence">
              <a:extLst>
                <a:ext uri="{FF2B5EF4-FFF2-40B4-BE49-F238E27FC236}">
                  <a16:creationId xmlns:a16="http://schemas.microsoft.com/office/drawing/2014/main" id="{B2BB721D-3A35-4B81-BFF1-A91044BCB036}"/>
                </a:ext>
              </a:extLst>
            </p:cNvPr>
            <p:cNvPicPr>
              <a:picLocks noChangeAspect="1"/>
            </p:cNvPicPr>
            <p:nvPr/>
          </p:nvPicPr>
          <p:blipFill>
            <a:blip r:embed="rId19"/>
            <a:stretch>
              <a:fillRect/>
            </a:stretch>
          </p:blipFill>
          <p:spPr>
            <a:xfrm>
              <a:off x="5142735" y="5038281"/>
              <a:ext cx="1905001" cy="648891"/>
            </a:xfrm>
            <a:prstGeom prst="rect">
              <a:avLst/>
            </a:prstGeom>
          </p:spPr>
        </p:pic>
        <p:pic>
          <p:nvPicPr>
            <p:cNvPr id="29" name="Picture 28" descr="A picture containing light&#10;&#10;Description automatically generated">
              <a:extLst>
                <a:ext uri="{FF2B5EF4-FFF2-40B4-BE49-F238E27FC236}">
                  <a16:creationId xmlns:a16="http://schemas.microsoft.com/office/drawing/2014/main" id="{83F647F2-9836-4567-B3F3-1F9E3037FEB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659487" y="2062787"/>
              <a:ext cx="2532513" cy="966960"/>
            </a:xfrm>
            <a:prstGeom prst="rect">
              <a:avLst/>
            </a:prstGeom>
          </p:spPr>
        </p:pic>
      </p:grpSp>
    </p:spTree>
    <p:extLst>
      <p:ext uri="{BB962C8B-B14F-4D97-AF65-F5344CB8AC3E}">
        <p14:creationId xmlns:p14="http://schemas.microsoft.com/office/powerpoint/2010/main" val="22935168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0"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25091" y="3111335"/>
            <a:ext cx="10492313" cy="3412128"/>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sz="3600" dirty="0">
                <a:gradFill>
                  <a:gsLst>
                    <a:gs pos="0">
                      <a:schemeClr val="accent5"/>
                    </a:gs>
                    <a:gs pos="100000">
                      <a:schemeClr val="accent4"/>
                    </a:gs>
                  </a:gsLst>
                  <a:lin ang="2700000" scaled="1"/>
                </a:gradFill>
              </a:rPr>
              <a:t>Demo</a:t>
            </a: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endParaRPr lang="en-US" sz="36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3412495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7454643" cy="548985"/>
          </a:xfrm>
        </p:spPr>
        <p:txBody>
          <a:bodyPr/>
          <a:lstStyle/>
          <a:p>
            <a:r>
              <a:rPr lang="en-US" sz="4400" dirty="0">
                <a:gradFill>
                  <a:gsLst>
                    <a:gs pos="0">
                      <a:schemeClr val="accent5"/>
                    </a:gs>
                    <a:gs pos="100000">
                      <a:schemeClr val="accent4"/>
                    </a:gs>
                  </a:gsLst>
                  <a:lin ang="2700000" scaled="1"/>
                </a:gradFill>
              </a:rPr>
              <a:t>Resources</a:t>
            </a:r>
          </a:p>
        </p:txBody>
      </p:sp>
    </p:spTree>
    <p:extLst>
      <p:ext uri="{BB962C8B-B14F-4D97-AF65-F5344CB8AC3E}">
        <p14:creationId xmlns:p14="http://schemas.microsoft.com/office/powerpoint/2010/main" val="1115253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C2E69D-9309-4DBA-ABB2-D728CA9D3B76}"/>
              </a:ext>
            </a:extLst>
          </p:cNvPr>
          <p:cNvSpPr>
            <a:spLocks noGrp="1"/>
          </p:cNvSpPr>
          <p:nvPr>
            <p:ph type="title"/>
          </p:nvPr>
        </p:nvSpPr>
        <p:spPr>
          <a:xfrm>
            <a:off x="381695" y="223045"/>
            <a:ext cx="10512862" cy="671356"/>
          </a:xfrm>
        </p:spPr>
        <p:txBody>
          <a:bodyPr>
            <a:normAutofit/>
          </a:bodyPr>
          <a:lstStyle/>
          <a:p>
            <a:r>
              <a:rPr lang="en-US" sz="3200" dirty="0">
                <a:latin typeface="Segoe UI Semibold (Headings)"/>
                <a:cs typeface="Segoe UI Semibold"/>
              </a:rPr>
              <a:t>Azure RTOS – Connecting devices to the cloud</a:t>
            </a:r>
            <a:endParaRPr lang="en-US" sz="3200" dirty="0">
              <a:latin typeface="Segoe UI Semibold (Headings)"/>
            </a:endParaRPr>
          </a:p>
        </p:txBody>
      </p:sp>
      <p:sp>
        <p:nvSpPr>
          <p:cNvPr id="45" name="TextBox 44">
            <a:extLst>
              <a:ext uri="{FF2B5EF4-FFF2-40B4-BE49-F238E27FC236}">
                <a16:creationId xmlns:a16="http://schemas.microsoft.com/office/drawing/2014/main" id="{9154FD3D-927B-4CFB-AC04-86456F73F7FE}"/>
              </a:ext>
            </a:extLst>
          </p:cNvPr>
          <p:cNvSpPr txBox="1"/>
          <p:nvPr/>
        </p:nvSpPr>
        <p:spPr>
          <a:xfrm>
            <a:off x="872203" y="1544413"/>
            <a:ext cx="2593222" cy="584623"/>
          </a:xfrm>
          <a:prstGeom prst="rect">
            <a:avLst/>
          </a:prstGeom>
          <a:noFill/>
        </p:spPr>
        <p:txBody>
          <a:bodyPr wrap="square" rtlCol="0">
            <a:spAutoFit/>
          </a:bodyPr>
          <a:lstStyle/>
          <a:p>
            <a:pPr defTabSz="914126"/>
            <a:r>
              <a:rPr lang="en-US" sz="3199" b="1">
                <a:solidFill>
                  <a:prstClr val="black"/>
                </a:solidFill>
                <a:latin typeface="Calibri" panose="020F0502020204030204"/>
              </a:rPr>
              <a:t>MCU Device</a:t>
            </a:r>
          </a:p>
        </p:txBody>
      </p:sp>
      <p:grpSp>
        <p:nvGrpSpPr>
          <p:cNvPr id="76" name="Group 75">
            <a:extLst>
              <a:ext uri="{FF2B5EF4-FFF2-40B4-BE49-F238E27FC236}">
                <a16:creationId xmlns:a16="http://schemas.microsoft.com/office/drawing/2014/main" id="{DDD29A96-F09A-433A-8E6F-4221EE5918FC}"/>
              </a:ext>
            </a:extLst>
          </p:cNvPr>
          <p:cNvGrpSpPr/>
          <p:nvPr/>
        </p:nvGrpSpPr>
        <p:grpSpPr>
          <a:xfrm>
            <a:off x="6161265" y="412614"/>
            <a:ext cx="5816585" cy="6221509"/>
            <a:chOff x="6069992" y="-219853"/>
            <a:chExt cx="5818100" cy="6223130"/>
          </a:xfrm>
        </p:grpSpPr>
        <p:pic>
          <p:nvPicPr>
            <p:cNvPr id="18" name="Graphic 17" descr="Cloud">
              <a:extLst>
                <a:ext uri="{FF2B5EF4-FFF2-40B4-BE49-F238E27FC236}">
                  <a16:creationId xmlns:a16="http://schemas.microsoft.com/office/drawing/2014/main" id="{9384EF66-ACB3-4EFB-89DB-28837C3A11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9992" y="-219853"/>
              <a:ext cx="5818100" cy="6223130"/>
            </a:xfrm>
            <a:prstGeom prst="rect">
              <a:avLst/>
            </a:prstGeom>
          </p:spPr>
        </p:pic>
        <p:grpSp>
          <p:nvGrpSpPr>
            <p:cNvPr id="75" name="Group 74">
              <a:extLst>
                <a:ext uri="{FF2B5EF4-FFF2-40B4-BE49-F238E27FC236}">
                  <a16:creationId xmlns:a16="http://schemas.microsoft.com/office/drawing/2014/main" id="{437EF9F5-B71F-491B-8401-FCDCC2FDC5B6}"/>
                </a:ext>
              </a:extLst>
            </p:cNvPr>
            <p:cNvGrpSpPr/>
            <p:nvPr/>
          </p:nvGrpSpPr>
          <p:grpSpPr>
            <a:xfrm>
              <a:off x="6959776" y="2165908"/>
              <a:ext cx="3787179" cy="2279486"/>
              <a:chOff x="6959776" y="2165908"/>
              <a:chExt cx="3787179" cy="2279486"/>
            </a:xfrm>
          </p:grpSpPr>
          <p:grpSp>
            <p:nvGrpSpPr>
              <p:cNvPr id="6" name="Group 5">
                <a:extLst>
                  <a:ext uri="{FF2B5EF4-FFF2-40B4-BE49-F238E27FC236}">
                    <a16:creationId xmlns:a16="http://schemas.microsoft.com/office/drawing/2014/main" id="{0D8E1C19-F40B-402D-B69F-A3094FE57247}"/>
                  </a:ext>
                </a:extLst>
              </p:cNvPr>
              <p:cNvGrpSpPr>
                <a:grpSpLocks noChangeAspect="1"/>
              </p:cNvGrpSpPr>
              <p:nvPr/>
            </p:nvGrpSpPr>
            <p:grpSpPr>
              <a:xfrm>
                <a:off x="9478937" y="2165908"/>
                <a:ext cx="993279" cy="1099959"/>
                <a:chOff x="8275552" y="1296020"/>
                <a:chExt cx="1463040" cy="1620173"/>
              </a:xfrm>
            </p:grpSpPr>
            <p:sp>
              <p:nvSpPr>
                <p:cNvPr id="3" name="Oval 2">
                  <a:extLst>
                    <a:ext uri="{FF2B5EF4-FFF2-40B4-BE49-F238E27FC236}">
                      <a16:creationId xmlns:a16="http://schemas.microsoft.com/office/drawing/2014/main" id="{CCECE27A-A970-44E1-A04A-2257F95630BD}"/>
                    </a:ext>
                  </a:extLst>
                </p:cNvPr>
                <p:cNvSpPr/>
                <p:nvPr/>
              </p:nvSpPr>
              <p:spPr>
                <a:xfrm>
                  <a:off x="8395545" y="1296020"/>
                  <a:ext cx="1212171" cy="1212170"/>
                </a:xfrm>
                <a:prstGeom prst="ellipse">
                  <a:avLst/>
                </a:prstGeom>
                <a:solidFill>
                  <a:schemeClr val="bg1"/>
                </a:solidFill>
                <a:ln w="571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pic>
              <p:nvPicPr>
                <p:cNvPr id="21" name="Picture 20" descr="IoT Central">
                  <a:extLst>
                    <a:ext uri="{FF2B5EF4-FFF2-40B4-BE49-F238E27FC236}">
                      <a16:creationId xmlns:a16="http://schemas.microsoft.com/office/drawing/2014/main" id="{45B55860-319B-426B-A56A-26B7E241BF9A}"/>
                    </a:ext>
                  </a:extLst>
                </p:cNvPr>
                <p:cNvPicPr>
                  <a:picLocks noChangeAspect="1"/>
                </p:cNvPicPr>
                <p:nvPr/>
              </p:nvPicPr>
              <p:blipFill>
                <a:blip r:embed="rId5"/>
                <a:stretch>
                  <a:fillRect/>
                </a:stretch>
              </p:blipFill>
              <p:spPr>
                <a:xfrm>
                  <a:off x="8591023" y="1428430"/>
                  <a:ext cx="820752" cy="947350"/>
                </a:xfrm>
                <a:prstGeom prst="rect">
                  <a:avLst/>
                </a:prstGeom>
              </p:spPr>
            </p:pic>
            <p:sp>
              <p:nvSpPr>
                <p:cNvPr id="4" name="TextBox 3">
                  <a:extLst>
                    <a:ext uri="{FF2B5EF4-FFF2-40B4-BE49-F238E27FC236}">
                      <a16:creationId xmlns:a16="http://schemas.microsoft.com/office/drawing/2014/main" id="{766CD7C1-8E46-4374-8DC4-E7D6F4991D7F}"/>
                    </a:ext>
                  </a:extLst>
                </p:cNvPr>
                <p:cNvSpPr txBox="1"/>
                <p:nvPr/>
              </p:nvSpPr>
              <p:spPr>
                <a:xfrm>
                  <a:off x="8275552" y="2508190"/>
                  <a:ext cx="1463040" cy="408003"/>
                </a:xfrm>
                <a:prstGeom prst="rect">
                  <a:avLst/>
                </a:prstGeom>
                <a:noFill/>
              </p:spPr>
              <p:txBody>
                <a:bodyPr wrap="square" rtlCol="0">
                  <a:spAutoFit/>
                </a:bodyPr>
                <a:lstStyle/>
                <a:p>
                  <a:pPr defTabSz="914126"/>
                  <a:r>
                    <a:rPr lang="en-US" sz="1200" b="1">
                      <a:solidFill>
                        <a:prstClr val="black"/>
                      </a:solidFill>
                      <a:latin typeface="Segoe UI Semibold" panose="020B0702040204020203" pitchFamily="34" charset="0"/>
                      <a:cs typeface="Segoe UI Semibold" panose="020B0702040204020203" pitchFamily="34" charset="0"/>
                    </a:rPr>
                    <a:t>IoT Central</a:t>
                  </a:r>
                </a:p>
              </p:txBody>
            </p:sp>
          </p:grpSp>
          <p:grpSp>
            <p:nvGrpSpPr>
              <p:cNvPr id="12" name="Group 11">
                <a:extLst>
                  <a:ext uri="{FF2B5EF4-FFF2-40B4-BE49-F238E27FC236}">
                    <a16:creationId xmlns:a16="http://schemas.microsoft.com/office/drawing/2014/main" id="{5C9AE81C-F1FE-4AED-A43E-BADDEF3D5830}"/>
                  </a:ext>
                </a:extLst>
              </p:cNvPr>
              <p:cNvGrpSpPr/>
              <p:nvPr/>
            </p:nvGrpSpPr>
            <p:grpSpPr>
              <a:xfrm>
                <a:off x="6959776" y="2759734"/>
                <a:ext cx="958940" cy="1252993"/>
                <a:chOff x="7000748" y="2989720"/>
                <a:chExt cx="958940" cy="1252993"/>
              </a:xfrm>
            </p:grpSpPr>
            <p:grpSp>
              <p:nvGrpSpPr>
                <p:cNvPr id="11" name="Group 10">
                  <a:extLst>
                    <a:ext uri="{FF2B5EF4-FFF2-40B4-BE49-F238E27FC236}">
                      <a16:creationId xmlns:a16="http://schemas.microsoft.com/office/drawing/2014/main" id="{B2E41C47-2C93-4D74-B86F-0924A5176D9A}"/>
                    </a:ext>
                  </a:extLst>
                </p:cNvPr>
                <p:cNvGrpSpPr/>
                <p:nvPr/>
              </p:nvGrpSpPr>
              <p:grpSpPr>
                <a:xfrm>
                  <a:off x="7068739" y="2989720"/>
                  <a:ext cx="822960" cy="822960"/>
                  <a:chOff x="7068739" y="2989720"/>
                  <a:chExt cx="822960" cy="822960"/>
                </a:xfrm>
              </p:grpSpPr>
              <p:sp>
                <p:nvSpPr>
                  <p:cNvPr id="10" name="Oval 9">
                    <a:extLst>
                      <a:ext uri="{FF2B5EF4-FFF2-40B4-BE49-F238E27FC236}">
                        <a16:creationId xmlns:a16="http://schemas.microsoft.com/office/drawing/2014/main" id="{ECC8B7B3-57A9-403F-A774-5108BCC1066E}"/>
                      </a:ext>
                    </a:extLst>
                  </p:cNvPr>
                  <p:cNvSpPr/>
                  <p:nvPr/>
                </p:nvSpPr>
                <p:spPr>
                  <a:xfrm>
                    <a:off x="7068739" y="2989720"/>
                    <a:ext cx="822960" cy="822960"/>
                  </a:xfrm>
                  <a:prstGeom prst="ellipse">
                    <a:avLst/>
                  </a:prstGeom>
                  <a:solidFill>
                    <a:schemeClr val="bg1"/>
                  </a:solidFill>
                  <a:ln w="571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pic>
                <p:nvPicPr>
                  <p:cNvPr id="32" name="Picture 31" descr="IoT Hub">
                    <a:extLst>
                      <a:ext uri="{FF2B5EF4-FFF2-40B4-BE49-F238E27FC236}">
                        <a16:creationId xmlns:a16="http://schemas.microsoft.com/office/drawing/2014/main" id="{FE3DDD0A-6DB6-40FF-85EC-72C853B2A9AD}"/>
                      </a:ext>
                    </a:extLst>
                  </p:cNvPr>
                  <p:cNvPicPr>
                    <a:picLocks noChangeAspect="1"/>
                  </p:cNvPicPr>
                  <p:nvPr/>
                </p:nvPicPr>
                <p:blipFill>
                  <a:blip r:embed="rId6"/>
                  <a:stretch>
                    <a:fillRect/>
                  </a:stretch>
                </p:blipFill>
                <p:spPr>
                  <a:xfrm>
                    <a:off x="7240222" y="3161121"/>
                    <a:ext cx="479991" cy="480158"/>
                  </a:xfrm>
                  <a:prstGeom prst="rect">
                    <a:avLst/>
                  </a:prstGeom>
                </p:spPr>
              </p:pic>
            </p:grpSp>
            <p:sp>
              <p:nvSpPr>
                <p:cNvPr id="33" name="TextBox 32">
                  <a:extLst>
                    <a:ext uri="{FF2B5EF4-FFF2-40B4-BE49-F238E27FC236}">
                      <a16:creationId xmlns:a16="http://schemas.microsoft.com/office/drawing/2014/main" id="{F5DC6A34-8B56-42C9-837D-FF5431EFF9E4}"/>
                    </a:ext>
                  </a:extLst>
                </p:cNvPr>
                <p:cNvSpPr txBox="1"/>
                <p:nvPr/>
              </p:nvSpPr>
              <p:spPr>
                <a:xfrm>
                  <a:off x="7000748" y="3781048"/>
                  <a:ext cx="958940" cy="461665"/>
                </a:xfrm>
                <a:prstGeom prst="rect">
                  <a:avLst/>
                </a:prstGeom>
                <a:noFill/>
              </p:spPr>
              <p:txBody>
                <a:bodyPr wrap="square">
                  <a:spAutoFit/>
                </a:bodyPr>
                <a:lstStyle/>
                <a:p>
                  <a:pPr algn="ctr" defTabSz="913828" fontAlgn="base">
                    <a:spcBef>
                      <a:spcPct val="0"/>
                    </a:spcBef>
                    <a:spcAft>
                      <a:spcPct val="0"/>
                    </a:spcAft>
                    <a:defRPr/>
                  </a:pPr>
                  <a:r>
                    <a:rPr lang="en-US" sz="1200" b="1">
                      <a:solidFill>
                        <a:srgbClr val="353535"/>
                      </a:solidFill>
                      <a:latin typeface="Segoe UI Semibold" panose="020B0702040204020203" pitchFamily="34" charset="0"/>
                      <a:cs typeface="Segoe UI Semibold" panose="020B0702040204020203" pitchFamily="34" charset="0"/>
                    </a:rPr>
                    <a:t>Azure IoT </a:t>
                  </a:r>
                </a:p>
                <a:p>
                  <a:pPr algn="ctr" defTabSz="913828" fontAlgn="base">
                    <a:spcBef>
                      <a:spcPct val="0"/>
                    </a:spcBef>
                    <a:spcAft>
                      <a:spcPct val="0"/>
                    </a:spcAft>
                    <a:defRPr/>
                  </a:pPr>
                  <a:r>
                    <a:rPr lang="en-US" sz="1200" b="1">
                      <a:solidFill>
                        <a:srgbClr val="353535"/>
                      </a:solidFill>
                      <a:latin typeface="Segoe UI Semibold" panose="020B0702040204020203" pitchFamily="34" charset="0"/>
                      <a:cs typeface="Segoe UI Semibold" panose="020B0702040204020203" pitchFamily="34" charset="0"/>
                    </a:rPr>
                    <a:t>Hub</a:t>
                  </a:r>
                </a:p>
              </p:txBody>
            </p:sp>
          </p:grpSp>
          <p:grpSp>
            <p:nvGrpSpPr>
              <p:cNvPr id="74" name="Group 73">
                <a:extLst>
                  <a:ext uri="{FF2B5EF4-FFF2-40B4-BE49-F238E27FC236}">
                    <a16:creationId xmlns:a16="http://schemas.microsoft.com/office/drawing/2014/main" id="{07AC4DA9-2EEC-486D-83A8-233C72E9F799}"/>
                  </a:ext>
                </a:extLst>
              </p:cNvPr>
              <p:cNvGrpSpPr/>
              <p:nvPr/>
            </p:nvGrpSpPr>
            <p:grpSpPr>
              <a:xfrm>
                <a:off x="9326234" y="3355762"/>
                <a:ext cx="1420721" cy="1089632"/>
                <a:chOff x="9326234" y="3355762"/>
                <a:chExt cx="1420721" cy="1089632"/>
              </a:xfrm>
            </p:grpSpPr>
            <p:grpSp>
              <p:nvGrpSpPr>
                <p:cNvPr id="42" name="Group 41">
                  <a:extLst>
                    <a:ext uri="{FF2B5EF4-FFF2-40B4-BE49-F238E27FC236}">
                      <a16:creationId xmlns:a16="http://schemas.microsoft.com/office/drawing/2014/main" id="{C84FB014-0343-48B8-AB39-F851ABC6A721}"/>
                    </a:ext>
                  </a:extLst>
                </p:cNvPr>
                <p:cNvGrpSpPr>
                  <a:grpSpLocks noChangeAspect="1"/>
                </p:cNvGrpSpPr>
                <p:nvPr/>
              </p:nvGrpSpPr>
              <p:grpSpPr>
                <a:xfrm>
                  <a:off x="9326234" y="3355762"/>
                  <a:ext cx="1420721" cy="1089632"/>
                  <a:chOff x="8056302" y="1296020"/>
                  <a:chExt cx="2092636" cy="1604962"/>
                </a:xfrm>
              </p:grpSpPr>
              <p:sp>
                <p:nvSpPr>
                  <p:cNvPr id="47" name="Oval 46">
                    <a:extLst>
                      <a:ext uri="{FF2B5EF4-FFF2-40B4-BE49-F238E27FC236}">
                        <a16:creationId xmlns:a16="http://schemas.microsoft.com/office/drawing/2014/main" id="{20FC454D-FECC-46E9-884C-84FDA7002FB7}"/>
                      </a:ext>
                    </a:extLst>
                  </p:cNvPr>
                  <p:cNvSpPr/>
                  <p:nvPr/>
                </p:nvSpPr>
                <p:spPr>
                  <a:xfrm>
                    <a:off x="8395545" y="1296020"/>
                    <a:ext cx="1212171" cy="1212170"/>
                  </a:xfrm>
                  <a:prstGeom prst="ellipse">
                    <a:avLst/>
                  </a:prstGeom>
                  <a:solidFill>
                    <a:schemeClr val="bg1"/>
                  </a:solidFill>
                  <a:ln w="571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sp>
                <p:nvSpPr>
                  <p:cNvPr id="50" name="TextBox 49">
                    <a:extLst>
                      <a:ext uri="{FF2B5EF4-FFF2-40B4-BE49-F238E27FC236}">
                        <a16:creationId xmlns:a16="http://schemas.microsoft.com/office/drawing/2014/main" id="{F81C31A8-0467-4F13-B5C8-69F6D8EF3254}"/>
                      </a:ext>
                    </a:extLst>
                  </p:cNvPr>
                  <p:cNvSpPr txBox="1"/>
                  <p:nvPr/>
                </p:nvSpPr>
                <p:spPr>
                  <a:xfrm>
                    <a:off x="8056302" y="2492979"/>
                    <a:ext cx="2092636" cy="408003"/>
                  </a:xfrm>
                  <a:prstGeom prst="rect">
                    <a:avLst/>
                  </a:prstGeom>
                  <a:noFill/>
                </p:spPr>
                <p:txBody>
                  <a:bodyPr wrap="square" rtlCol="0">
                    <a:spAutoFit/>
                  </a:bodyPr>
                  <a:lstStyle/>
                  <a:p>
                    <a:pPr defTabSz="914126"/>
                    <a:r>
                      <a:rPr lang="en-US" sz="1200" b="1">
                        <a:solidFill>
                          <a:prstClr val="black"/>
                        </a:solidFill>
                        <a:latin typeface="Segoe UI Semibold" panose="020B0702040204020203" pitchFamily="34" charset="0"/>
                        <a:cs typeface="Segoe UI Semibold" panose="020B0702040204020203" pitchFamily="34" charset="0"/>
                      </a:rPr>
                      <a:t>Custom Solution</a:t>
                    </a:r>
                  </a:p>
                </p:txBody>
              </p:sp>
            </p:grpSp>
            <p:sp>
              <p:nvSpPr>
                <p:cNvPr id="43" name="Freeform 5">
                  <a:extLst>
                    <a:ext uri="{FF2B5EF4-FFF2-40B4-BE49-F238E27FC236}">
                      <a16:creationId xmlns:a16="http://schemas.microsoft.com/office/drawing/2014/main" id="{9F2A6433-CAA3-4B35-9239-4E2B99F09350}"/>
                    </a:ext>
                  </a:extLst>
                </p:cNvPr>
                <p:cNvSpPr>
                  <a:spLocks/>
                </p:cNvSpPr>
                <p:nvPr/>
              </p:nvSpPr>
              <p:spPr bwMode="auto">
                <a:xfrm>
                  <a:off x="9696328" y="3592147"/>
                  <a:ext cx="543405" cy="349623"/>
                </a:xfrm>
                <a:custGeom>
                  <a:avLst/>
                  <a:gdLst>
                    <a:gd name="T0" fmla="*/ 113 w 172"/>
                    <a:gd name="T1" fmla="*/ 103 h 104"/>
                    <a:gd name="T2" fmla="*/ 146 w 172"/>
                    <a:gd name="T3" fmla="*/ 103 h 104"/>
                    <a:gd name="T4" fmla="*/ 172 w 172"/>
                    <a:gd name="T5" fmla="*/ 77 h 104"/>
                    <a:gd name="T6" fmla="*/ 146 w 172"/>
                    <a:gd name="T7" fmla="*/ 51 h 104"/>
                    <a:gd name="T8" fmla="*/ 135 w 172"/>
                    <a:gd name="T9" fmla="*/ 54 h 104"/>
                    <a:gd name="T10" fmla="*/ 138 w 172"/>
                    <a:gd name="T11" fmla="*/ 40 h 104"/>
                    <a:gd name="T12" fmla="*/ 98 w 172"/>
                    <a:gd name="T13" fmla="*/ 0 h 104"/>
                    <a:gd name="T14" fmla="*/ 60 w 172"/>
                    <a:gd name="T15" fmla="*/ 31 h 104"/>
                    <a:gd name="T16" fmla="*/ 44 w 172"/>
                    <a:gd name="T17" fmla="*/ 24 h 104"/>
                    <a:gd name="T18" fmla="*/ 23 w 172"/>
                    <a:gd name="T19" fmla="*/ 46 h 104"/>
                    <a:gd name="T20" fmla="*/ 23 w 172"/>
                    <a:gd name="T21" fmla="*/ 46 h 104"/>
                    <a:gd name="T22" fmla="*/ 0 w 172"/>
                    <a:gd name="T23" fmla="*/ 74 h 104"/>
                    <a:gd name="T24" fmla="*/ 29 w 172"/>
                    <a:gd name="T25" fmla="*/ 103 h 104"/>
                    <a:gd name="T26" fmla="*/ 55 w 172"/>
                    <a:gd name="T27" fmla="*/ 104 h 104"/>
                    <a:gd name="T28" fmla="*/ 99 w 172"/>
                    <a:gd name="T2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104">
                      <a:moveTo>
                        <a:pt x="113" y="103"/>
                      </a:moveTo>
                      <a:cubicBezTo>
                        <a:pt x="132" y="103"/>
                        <a:pt x="146" y="103"/>
                        <a:pt x="146" y="103"/>
                      </a:cubicBezTo>
                      <a:cubicBezTo>
                        <a:pt x="160" y="103"/>
                        <a:pt x="172" y="92"/>
                        <a:pt x="172" y="77"/>
                      </a:cubicBezTo>
                      <a:cubicBezTo>
                        <a:pt x="172" y="63"/>
                        <a:pt x="160" y="51"/>
                        <a:pt x="146" y="51"/>
                      </a:cubicBezTo>
                      <a:cubicBezTo>
                        <a:pt x="142" y="51"/>
                        <a:pt x="139" y="52"/>
                        <a:pt x="135" y="54"/>
                      </a:cubicBezTo>
                      <a:cubicBezTo>
                        <a:pt x="137" y="49"/>
                        <a:pt x="138" y="45"/>
                        <a:pt x="138" y="40"/>
                      </a:cubicBezTo>
                      <a:cubicBezTo>
                        <a:pt x="138" y="18"/>
                        <a:pt x="120" y="0"/>
                        <a:pt x="98" y="0"/>
                      </a:cubicBezTo>
                      <a:cubicBezTo>
                        <a:pt x="79" y="0"/>
                        <a:pt x="64" y="13"/>
                        <a:pt x="60" y="31"/>
                      </a:cubicBezTo>
                      <a:cubicBezTo>
                        <a:pt x="56" y="27"/>
                        <a:pt x="50" y="24"/>
                        <a:pt x="44" y="24"/>
                      </a:cubicBezTo>
                      <a:cubicBezTo>
                        <a:pt x="33" y="24"/>
                        <a:pt x="23" y="34"/>
                        <a:pt x="23" y="46"/>
                      </a:cubicBezTo>
                      <a:cubicBezTo>
                        <a:pt x="23" y="46"/>
                        <a:pt x="23" y="46"/>
                        <a:pt x="23" y="46"/>
                      </a:cubicBezTo>
                      <a:cubicBezTo>
                        <a:pt x="10" y="49"/>
                        <a:pt x="0" y="60"/>
                        <a:pt x="0" y="74"/>
                      </a:cubicBezTo>
                      <a:cubicBezTo>
                        <a:pt x="0" y="90"/>
                        <a:pt x="13" y="103"/>
                        <a:pt x="29" y="103"/>
                      </a:cubicBezTo>
                      <a:cubicBezTo>
                        <a:pt x="30" y="103"/>
                        <a:pt x="30" y="104"/>
                        <a:pt x="55" y="104"/>
                      </a:cubicBezTo>
                      <a:cubicBezTo>
                        <a:pt x="76" y="104"/>
                        <a:pt x="80" y="95"/>
                        <a:pt x="99" y="74"/>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126">
                    <a:defRPr/>
                  </a:pPr>
                  <a:endParaRPr lang="en-US" sz="1799">
                    <a:solidFill>
                      <a:srgbClr val="FFFFFF"/>
                    </a:solidFill>
                    <a:latin typeface="Segoe UI"/>
                  </a:endParaRPr>
                </a:p>
              </p:txBody>
            </p:sp>
          </p:grpSp>
          <p:cxnSp>
            <p:nvCxnSpPr>
              <p:cNvPr id="55" name="Connector: Elbow 54">
                <a:extLst>
                  <a:ext uri="{FF2B5EF4-FFF2-40B4-BE49-F238E27FC236}">
                    <a16:creationId xmlns:a16="http://schemas.microsoft.com/office/drawing/2014/main" id="{3F235F8C-7B1F-4956-A65E-812B0C0B1B88}"/>
                  </a:ext>
                </a:extLst>
              </p:cNvPr>
              <p:cNvCxnSpPr>
                <a:cxnSpLocks/>
                <a:stCxn id="10" idx="6"/>
                <a:endCxn id="3" idx="2"/>
              </p:cNvCxnSpPr>
              <p:nvPr/>
            </p:nvCxnSpPr>
            <p:spPr>
              <a:xfrm flipV="1">
                <a:off x="7850727" y="2577388"/>
                <a:ext cx="1709675" cy="593826"/>
              </a:xfrm>
              <a:prstGeom prst="bentConnector3">
                <a:avLst>
                  <a:gd name="adj1" fmla="val 2188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F3B6B36E-15BB-4F4F-A241-5E892EF43124}"/>
                  </a:ext>
                </a:extLst>
              </p:cNvPr>
              <p:cNvCxnSpPr>
                <a:cxnSpLocks/>
                <a:stCxn id="10" idx="6"/>
                <a:endCxn id="47" idx="2"/>
              </p:cNvCxnSpPr>
              <p:nvPr/>
            </p:nvCxnSpPr>
            <p:spPr>
              <a:xfrm>
                <a:off x="7850727" y="3171214"/>
                <a:ext cx="1705824" cy="596028"/>
              </a:xfrm>
              <a:prstGeom prst="bentConnector3">
                <a:avLst>
                  <a:gd name="adj1" fmla="val 21816"/>
                </a:avLst>
              </a:prstGeom>
              <a:ln>
                <a:solidFill>
                  <a:schemeClr val="accent1"/>
                </a:solidFill>
                <a:miter lim="800000"/>
                <a:tailEnd type="arrow" w="med" len="med"/>
              </a:ln>
            </p:spPr>
            <p:style>
              <a:lnRef idx="1">
                <a:schemeClr val="accent1"/>
              </a:lnRef>
              <a:fillRef idx="0">
                <a:schemeClr val="accent1"/>
              </a:fillRef>
              <a:effectRef idx="0">
                <a:schemeClr val="accent1"/>
              </a:effectRef>
              <a:fontRef idx="minor">
                <a:schemeClr val="tx1"/>
              </a:fontRef>
            </p:style>
          </p:cxnSp>
        </p:grpSp>
      </p:grpSp>
      <p:sp>
        <p:nvSpPr>
          <p:cNvPr id="77" name="TextBox 76">
            <a:extLst>
              <a:ext uri="{FF2B5EF4-FFF2-40B4-BE49-F238E27FC236}">
                <a16:creationId xmlns:a16="http://schemas.microsoft.com/office/drawing/2014/main" id="{A0EF0ABF-1997-4641-B186-4C4B0158A391}"/>
              </a:ext>
            </a:extLst>
          </p:cNvPr>
          <p:cNvSpPr txBox="1"/>
          <p:nvPr/>
        </p:nvSpPr>
        <p:spPr>
          <a:xfrm>
            <a:off x="7772946" y="1428952"/>
            <a:ext cx="2593222" cy="584623"/>
          </a:xfrm>
          <a:prstGeom prst="rect">
            <a:avLst/>
          </a:prstGeom>
          <a:noFill/>
        </p:spPr>
        <p:txBody>
          <a:bodyPr wrap="square" rtlCol="0">
            <a:spAutoFit/>
          </a:bodyPr>
          <a:lstStyle/>
          <a:p>
            <a:pPr defTabSz="914126"/>
            <a:r>
              <a:rPr lang="en-US" sz="3199" b="1">
                <a:solidFill>
                  <a:prstClr val="black"/>
                </a:solidFill>
                <a:latin typeface="Calibri" panose="020F0502020204030204"/>
              </a:rPr>
              <a:t>Azure Cloud</a:t>
            </a:r>
          </a:p>
        </p:txBody>
      </p:sp>
      <p:sp>
        <p:nvSpPr>
          <p:cNvPr id="2" name="Arrow: Left-Right 1">
            <a:extLst>
              <a:ext uri="{FF2B5EF4-FFF2-40B4-BE49-F238E27FC236}">
                <a16:creationId xmlns:a16="http://schemas.microsoft.com/office/drawing/2014/main" id="{4FEF2AA0-8A76-43B6-BD89-6AD43DCE16AA}"/>
              </a:ext>
            </a:extLst>
          </p:cNvPr>
          <p:cNvSpPr/>
          <p:nvPr/>
        </p:nvSpPr>
        <p:spPr>
          <a:xfrm>
            <a:off x="3718574" y="3436135"/>
            <a:ext cx="3298256" cy="97718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609443"/>
            <a:r>
              <a:rPr lang="en-US" sz="1600">
                <a:solidFill>
                  <a:prstClr val="white"/>
                </a:solidFill>
                <a:latin typeface="Calibri" panose="020F0502020204030204"/>
              </a:rPr>
              <a:t>Device to Cloud</a:t>
            </a:r>
          </a:p>
          <a:p>
            <a:pPr algn="ctr" defTabSz="609443"/>
            <a:r>
              <a:rPr lang="en-US" sz="1600">
                <a:solidFill>
                  <a:prstClr val="white"/>
                </a:solidFill>
                <a:latin typeface="Calibri" panose="020F0502020204030204"/>
              </a:rPr>
              <a:t>&amp; Cloud to Device</a:t>
            </a:r>
          </a:p>
        </p:txBody>
      </p:sp>
      <p:pic>
        <p:nvPicPr>
          <p:cNvPr id="8" name="Picture 2" descr="product primary image">
            <a:extLst>
              <a:ext uri="{FF2B5EF4-FFF2-40B4-BE49-F238E27FC236}">
                <a16:creationId xmlns:a16="http://schemas.microsoft.com/office/drawing/2014/main" id="{8B7BD373-733D-4374-94E1-8CFEBA2ECA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9334" y="856035"/>
            <a:ext cx="2546002" cy="1273001"/>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EE8C959C-5E5B-4E6C-994D-BF2E2E41F3DB}"/>
              </a:ext>
            </a:extLst>
          </p:cNvPr>
          <p:cNvGrpSpPr/>
          <p:nvPr/>
        </p:nvGrpSpPr>
        <p:grpSpPr>
          <a:xfrm>
            <a:off x="752049" y="2305389"/>
            <a:ext cx="2833533" cy="3184072"/>
            <a:chOff x="735262" y="2777710"/>
            <a:chExt cx="2833533" cy="3184072"/>
          </a:xfrm>
        </p:grpSpPr>
        <p:grpSp>
          <p:nvGrpSpPr>
            <p:cNvPr id="24" name="Group 23">
              <a:extLst>
                <a:ext uri="{FF2B5EF4-FFF2-40B4-BE49-F238E27FC236}">
                  <a16:creationId xmlns:a16="http://schemas.microsoft.com/office/drawing/2014/main" id="{42ADE7EF-4F0E-42AB-B6B0-19867332155C}"/>
                </a:ext>
              </a:extLst>
            </p:cNvPr>
            <p:cNvGrpSpPr/>
            <p:nvPr/>
          </p:nvGrpSpPr>
          <p:grpSpPr>
            <a:xfrm>
              <a:off x="735262" y="2777710"/>
              <a:ext cx="2833533" cy="3184072"/>
              <a:chOff x="714508" y="1799772"/>
              <a:chExt cx="3519715" cy="3955142"/>
            </a:xfrm>
          </p:grpSpPr>
          <p:sp>
            <p:nvSpPr>
              <p:cNvPr id="13" name="TextBox 12">
                <a:extLst>
                  <a:ext uri="{FF2B5EF4-FFF2-40B4-BE49-F238E27FC236}">
                    <a16:creationId xmlns:a16="http://schemas.microsoft.com/office/drawing/2014/main" id="{34808C3D-06FF-482D-81B6-DAF4844F8417}"/>
                  </a:ext>
                </a:extLst>
              </p:cNvPr>
              <p:cNvSpPr txBox="1"/>
              <p:nvPr/>
            </p:nvSpPr>
            <p:spPr>
              <a:xfrm>
                <a:off x="714508" y="1799772"/>
                <a:ext cx="3519715" cy="3955142"/>
              </a:xfrm>
              <a:prstGeom prst="rect">
                <a:avLst/>
              </a:prstGeom>
              <a:noFill/>
              <a:ln w="38100">
                <a:solidFill>
                  <a:srgbClr val="50C7E8"/>
                </a:solidFill>
              </a:ln>
            </p:spPr>
            <p:txBody>
              <a:bodyPr wrap="square" rtlCol="0">
                <a:noAutofit/>
              </a:bodyPr>
              <a:lstStyle/>
              <a:p>
                <a:pPr algn="ctr" defTabSz="914126"/>
                <a:endParaRPr lang="en-US" sz="1799" b="1" u="sng">
                  <a:solidFill>
                    <a:prstClr val="black"/>
                  </a:solidFill>
                  <a:latin typeface="Calibri" panose="020F0502020204030204"/>
                </a:endParaRPr>
              </a:p>
            </p:txBody>
          </p:sp>
          <p:sp>
            <p:nvSpPr>
              <p:cNvPr id="15" name="TextBox 14">
                <a:extLst>
                  <a:ext uri="{FF2B5EF4-FFF2-40B4-BE49-F238E27FC236}">
                    <a16:creationId xmlns:a16="http://schemas.microsoft.com/office/drawing/2014/main" id="{6765DD2B-BAB3-4A02-8AB2-8800C587067C}"/>
                  </a:ext>
                </a:extLst>
              </p:cNvPr>
              <p:cNvSpPr txBox="1">
                <a:spLocks noChangeAspect="1"/>
              </p:cNvSpPr>
              <p:nvPr/>
            </p:nvSpPr>
            <p:spPr>
              <a:xfrm>
                <a:off x="823387" y="1922121"/>
                <a:ext cx="3301956" cy="3710444"/>
              </a:xfrm>
              <a:prstGeom prst="rect">
                <a:avLst/>
              </a:prstGeom>
              <a:solidFill>
                <a:srgbClr val="1879C5"/>
              </a:solidFill>
              <a:ln>
                <a:solidFill>
                  <a:schemeClr val="accent5">
                    <a:lumMod val="75000"/>
                  </a:schemeClr>
                </a:solidFill>
              </a:ln>
            </p:spPr>
            <p:txBody>
              <a:bodyPr wrap="square" rtlCol="0">
                <a:noAutofit/>
              </a:bodyPr>
              <a:lstStyle/>
              <a:p>
                <a:pPr algn="ctr" defTabSz="914126"/>
                <a:r>
                  <a:rPr lang="en-US" sz="1999" b="1">
                    <a:solidFill>
                      <a:prstClr val="white"/>
                    </a:solidFill>
                    <a:latin typeface="Calibri" panose="020F0502020204030204"/>
                  </a:rPr>
                  <a:t>Azure RTOS</a:t>
                </a:r>
                <a:endParaRPr lang="en-US" sz="1799" b="1">
                  <a:solidFill>
                    <a:prstClr val="white"/>
                  </a:solidFill>
                  <a:latin typeface="Calibri" panose="020F0502020204030204"/>
                </a:endParaRPr>
              </a:p>
            </p:txBody>
          </p:sp>
          <p:sp>
            <p:nvSpPr>
              <p:cNvPr id="16" name="TextBox 15">
                <a:extLst>
                  <a:ext uri="{FF2B5EF4-FFF2-40B4-BE49-F238E27FC236}">
                    <a16:creationId xmlns:a16="http://schemas.microsoft.com/office/drawing/2014/main" id="{023BB1C0-36B4-4D25-B81C-99E87BE3A066}"/>
                  </a:ext>
                </a:extLst>
              </p:cNvPr>
              <p:cNvSpPr txBox="1"/>
              <p:nvPr/>
            </p:nvSpPr>
            <p:spPr>
              <a:xfrm>
                <a:off x="1291610" y="2693380"/>
                <a:ext cx="2365989" cy="2418589"/>
              </a:xfrm>
              <a:prstGeom prst="rect">
                <a:avLst/>
              </a:prstGeom>
              <a:solidFill>
                <a:srgbClr val="50C7E8"/>
              </a:solidFill>
              <a:ln w="76200">
                <a:solidFill>
                  <a:schemeClr val="bg1"/>
                </a:solidFill>
              </a:ln>
            </p:spPr>
            <p:txBody>
              <a:bodyPr wrap="square" rtlCol="0">
                <a:noAutofit/>
              </a:bodyPr>
              <a:lstStyle/>
              <a:p>
                <a:pPr algn="ctr" defTabSz="914126"/>
                <a:r>
                  <a:rPr lang="en-US" sz="1799" b="1">
                    <a:solidFill>
                      <a:prstClr val="black"/>
                    </a:solidFill>
                    <a:latin typeface="Calibri" panose="020F0502020204030204"/>
                  </a:rPr>
                  <a:t>Embedded C SDK</a:t>
                </a:r>
              </a:p>
            </p:txBody>
          </p:sp>
        </p:grpSp>
        <p:sp>
          <p:nvSpPr>
            <p:cNvPr id="9" name="Rectangle 8">
              <a:extLst>
                <a:ext uri="{FF2B5EF4-FFF2-40B4-BE49-F238E27FC236}">
                  <a16:creationId xmlns:a16="http://schemas.microsoft.com/office/drawing/2014/main" id="{DE56AE49-2DF5-4D87-A57D-E959125ECAE6}"/>
                </a:ext>
              </a:extLst>
            </p:cNvPr>
            <p:cNvSpPr/>
            <p:nvPr/>
          </p:nvSpPr>
          <p:spPr>
            <a:xfrm>
              <a:off x="1415562" y="4042813"/>
              <a:ext cx="1452302" cy="3705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3"/>
              <a:r>
                <a:rPr lang="en-US" sz="1600">
                  <a:solidFill>
                    <a:prstClr val="white"/>
                  </a:solidFill>
                  <a:latin typeface="Calibri" panose="020F0502020204030204"/>
                </a:rPr>
                <a:t>IoT Hub</a:t>
              </a:r>
            </a:p>
          </p:txBody>
        </p:sp>
        <p:sp>
          <p:nvSpPr>
            <p:cNvPr id="14" name="Rectangle 13">
              <a:extLst>
                <a:ext uri="{FF2B5EF4-FFF2-40B4-BE49-F238E27FC236}">
                  <a16:creationId xmlns:a16="http://schemas.microsoft.com/office/drawing/2014/main" id="{E28B7651-6F58-4A26-851B-F17A7CF48EBC}"/>
                </a:ext>
              </a:extLst>
            </p:cNvPr>
            <p:cNvSpPr/>
            <p:nvPr/>
          </p:nvSpPr>
          <p:spPr>
            <a:xfrm>
              <a:off x="1428220" y="4573152"/>
              <a:ext cx="1452302" cy="6318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3"/>
              <a:r>
                <a:rPr lang="en-US" sz="1200">
                  <a:solidFill>
                    <a:prstClr val="white"/>
                  </a:solidFill>
                  <a:latin typeface="Calibri" panose="020F0502020204030204"/>
                </a:rPr>
                <a:t>Device Provisioning Service</a:t>
              </a:r>
            </a:p>
          </p:txBody>
        </p:sp>
      </p:grpSp>
      <p:sp>
        <p:nvSpPr>
          <p:cNvPr id="34" name="TextBox 33">
            <a:extLst>
              <a:ext uri="{FF2B5EF4-FFF2-40B4-BE49-F238E27FC236}">
                <a16:creationId xmlns:a16="http://schemas.microsoft.com/office/drawing/2014/main" id="{88F6D3B6-994D-4ECA-858B-D90FFA318809}"/>
              </a:ext>
            </a:extLst>
          </p:cNvPr>
          <p:cNvSpPr txBox="1"/>
          <p:nvPr/>
        </p:nvSpPr>
        <p:spPr>
          <a:xfrm>
            <a:off x="536592" y="5919176"/>
            <a:ext cx="10025749" cy="646331"/>
          </a:xfrm>
          <a:prstGeom prst="rect">
            <a:avLst/>
          </a:prstGeom>
          <a:noFill/>
        </p:spPr>
        <p:txBody>
          <a:bodyPr wrap="square">
            <a:spAutoFit/>
          </a:bodyPr>
          <a:lstStyle/>
          <a:p>
            <a:r>
              <a:rPr lang="en-US" dirty="0">
                <a:solidFill>
                  <a:srgbClr val="0070C0"/>
                </a:solidFill>
                <a:hlinkClick r:id="rId8"/>
              </a:rPr>
              <a:t>https://github.com/azure-rtos</a:t>
            </a:r>
            <a:endParaRPr lang="en-US" dirty="0">
              <a:solidFill>
                <a:srgbClr val="0070C0"/>
              </a:solidFill>
            </a:endParaRPr>
          </a:p>
          <a:p>
            <a:r>
              <a:rPr lang="en-US" dirty="0">
                <a:solidFill>
                  <a:srgbClr val="0070C0"/>
                </a:solidFill>
              </a:rPr>
              <a:t>https://aka.ms/deepdive/eMASTERs-Microchip-Microsoft-Connecting-Devices</a:t>
            </a:r>
          </a:p>
        </p:txBody>
      </p:sp>
    </p:spTree>
    <p:extLst>
      <p:ext uri="{BB962C8B-B14F-4D97-AF65-F5344CB8AC3E}">
        <p14:creationId xmlns:p14="http://schemas.microsoft.com/office/powerpoint/2010/main" val="8101500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10588058" cy="548985"/>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aka.ms/EmbeddedDevResearch</a:t>
            </a:r>
            <a:endParaRPr lang="en-US" sz="4400" dirty="0">
              <a:solidFill>
                <a:schemeClr val="tx1"/>
              </a:solidFill>
            </a:endParaRPr>
          </a:p>
        </p:txBody>
      </p:sp>
    </p:spTree>
    <p:extLst>
      <p:ext uri="{BB962C8B-B14F-4D97-AF65-F5344CB8AC3E}">
        <p14:creationId xmlns:p14="http://schemas.microsoft.com/office/powerpoint/2010/main" val="12814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58333E-6 0 L -4.58333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8DB35291-7B17-4A0A-A3CD-C105FF3EC5CE}"/>
              </a:ext>
            </a:extLst>
          </p:cNvPr>
          <p:cNvSpPr txBox="1">
            <a:spLocks/>
          </p:cNvSpPr>
          <p:nvPr/>
        </p:nvSpPr>
        <p:spPr>
          <a:xfrm>
            <a:off x="344423" y="448492"/>
            <a:ext cx="11018520" cy="492443"/>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49" normalizeH="0" baseline="0" noProof="0">
                <a:ln w="3175">
                  <a:noFill/>
                </a:ln>
                <a:gradFill>
                  <a:gsLst>
                    <a:gs pos="0">
                      <a:srgbClr val="FFFFFF"/>
                    </a:gs>
                    <a:gs pos="100000">
                      <a:srgbClr val="FFFFFF"/>
                    </a:gs>
                  </a:gsLst>
                  <a:lin ang="5400000" scaled="1"/>
                </a:gradFill>
                <a:effectLst/>
                <a:uLnTx/>
                <a:uFillTx/>
                <a:latin typeface="Segoe UI Semibold"/>
                <a:ea typeface="+mn-ea"/>
                <a:cs typeface="Segoe UI" pitchFamily="34" charset="0"/>
              </a:rPr>
              <a:t>30 Days to Learn Cloud Skills Challenge </a:t>
            </a:r>
          </a:p>
        </p:txBody>
      </p:sp>
      <p:pic>
        <p:nvPicPr>
          <p:cNvPr id="8" name="Picture 7">
            <a:extLst>
              <a:ext uri="{FF2B5EF4-FFF2-40B4-BE49-F238E27FC236}">
                <a16:creationId xmlns:a16="http://schemas.microsoft.com/office/drawing/2014/main" id="{ACAC14D8-A27F-4F61-90DE-19B89B570EE3}"/>
              </a:ext>
            </a:extLst>
          </p:cNvPr>
          <p:cNvPicPr>
            <a:picLocks noChangeAspect="1"/>
          </p:cNvPicPr>
          <p:nvPr/>
        </p:nvPicPr>
        <p:blipFill>
          <a:blip r:embed="rId3"/>
          <a:stretch>
            <a:fillRect/>
          </a:stretch>
        </p:blipFill>
        <p:spPr>
          <a:xfrm>
            <a:off x="6136782" y="1756682"/>
            <a:ext cx="6055218" cy="3344636"/>
          </a:xfrm>
          <a:prstGeom prst="rect">
            <a:avLst/>
          </a:prstGeom>
        </p:spPr>
      </p:pic>
      <p:sp>
        <p:nvSpPr>
          <p:cNvPr id="10" name="TextBox 9">
            <a:extLst>
              <a:ext uri="{FF2B5EF4-FFF2-40B4-BE49-F238E27FC236}">
                <a16:creationId xmlns:a16="http://schemas.microsoft.com/office/drawing/2014/main" id="{28FE0C75-AF51-4353-8B60-6E0829783FCD}"/>
              </a:ext>
            </a:extLst>
          </p:cNvPr>
          <p:cNvSpPr txBox="1"/>
          <p:nvPr/>
        </p:nvSpPr>
        <p:spPr>
          <a:xfrm>
            <a:off x="208844" y="1756682"/>
            <a:ext cx="5130800"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30 Days to Learn it’ offers a time-bound, personalized, Cloud Skills Challenge that is built upon Microsoft Learn. It is designed to help developers build in-demand skills that advance their career, while preparing them to earn the Microsoft Certification for the Azure IoT Developer (AZ220) exam. </a:t>
            </a:r>
          </a:p>
        </p:txBody>
      </p:sp>
      <p:sp>
        <p:nvSpPr>
          <p:cNvPr id="12" name="TextBox 11">
            <a:extLst>
              <a:ext uri="{FF2B5EF4-FFF2-40B4-BE49-F238E27FC236}">
                <a16:creationId xmlns:a16="http://schemas.microsoft.com/office/drawing/2014/main" id="{8AD81E54-B65E-4F1D-A4F9-42CEE64F93CD}"/>
              </a:ext>
            </a:extLst>
          </p:cNvPr>
          <p:cNvSpPr txBox="1"/>
          <p:nvPr/>
        </p:nvSpPr>
        <p:spPr>
          <a:xfrm>
            <a:off x="208844" y="4297016"/>
            <a:ext cx="622017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4"/>
              </a:rPr>
              <a:t>https://aka.ms/30DaysCSC/IoT</a:t>
            </a: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 </a:t>
            </a: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4529901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9">
            <a:extLst>
              <a:ext uri="{FF2B5EF4-FFF2-40B4-BE49-F238E27FC236}">
                <a16:creationId xmlns:a16="http://schemas.microsoft.com/office/drawing/2014/main" id="{3D060D57-26E7-440C-88B9-1DD2150036EB}"/>
              </a:ext>
            </a:extLst>
          </p:cNvPr>
          <p:cNvGraphicFramePr>
            <a:graphicFrameLocks noGrp="1"/>
          </p:cNvGraphicFramePr>
          <p:nvPr/>
        </p:nvGraphicFramePr>
        <p:xfrm>
          <a:off x="220238" y="924368"/>
          <a:ext cx="11802764" cy="2852522"/>
        </p:xfrm>
        <a:graphic>
          <a:graphicData uri="http://schemas.openxmlformats.org/drawingml/2006/table">
            <a:tbl>
              <a:tblPr firstRow="1" bandRow="1">
                <a:tableStyleId>{2D5ABB26-0587-4C30-8999-92F81FD0307C}</a:tableStyleId>
              </a:tblPr>
              <a:tblGrid>
                <a:gridCol w="2751562">
                  <a:extLst>
                    <a:ext uri="{9D8B030D-6E8A-4147-A177-3AD203B41FA5}">
                      <a16:colId xmlns:a16="http://schemas.microsoft.com/office/drawing/2014/main" val="2577026644"/>
                    </a:ext>
                  </a:extLst>
                </a:gridCol>
                <a:gridCol w="3149820">
                  <a:extLst>
                    <a:ext uri="{9D8B030D-6E8A-4147-A177-3AD203B41FA5}">
                      <a16:colId xmlns:a16="http://schemas.microsoft.com/office/drawing/2014/main" val="1557014971"/>
                    </a:ext>
                  </a:extLst>
                </a:gridCol>
                <a:gridCol w="2950691">
                  <a:extLst>
                    <a:ext uri="{9D8B030D-6E8A-4147-A177-3AD203B41FA5}">
                      <a16:colId xmlns:a16="http://schemas.microsoft.com/office/drawing/2014/main" val="2178097593"/>
                    </a:ext>
                  </a:extLst>
                </a:gridCol>
                <a:gridCol w="2950691">
                  <a:extLst>
                    <a:ext uri="{9D8B030D-6E8A-4147-A177-3AD203B41FA5}">
                      <a16:colId xmlns:a16="http://schemas.microsoft.com/office/drawing/2014/main" val="2760844868"/>
                    </a:ext>
                  </a:extLst>
                </a:gridCol>
              </a:tblGrid>
              <a:tr h="438547">
                <a:tc>
                  <a:txBody>
                    <a:bodyPr/>
                    <a:lstStyle/>
                    <a:p>
                      <a:pPr algn="ctr"/>
                      <a:r>
                        <a:rPr lang="en-US" sz="1800" kern="1200" dirty="0">
                          <a:solidFill>
                            <a:srgbClr val="FFFFFF"/>
                          </a:solidFill>
                          <a:effectLst/>
                        </a:rPr>
                        <a:t>Hands on Learning </a:t>
                      </a:r>
                      <a:endParaRPr lang="en-US" dirty="0"/>
                    </a:p>
                  </a:txBody>
                  <a:tcPr/>
                </a:tc>
                <a:tc>
                  <a:txBody>
                    <a:bodyPr/>
                    <a:lstStyle/>
                    <a:p>
                      <a:pPr algn="ctr"/>
                      <a:r>
                        <a:rPr lang="en-US" sz="1800" dirty="0">
                          <a:solidFill>
                            <a:schemeClr val="tx1"/>
                          </a:solidFill>
                        </a:rPr>
                        <a:t>Watch</a:t>
                      </a:r>
                      <a:endParaRPr lang="en-US" dirty="0">
                        <a:solidFill>
                          <a:schemeClr val="tx1"/>
                        </a:solidFill>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Discover and Discuss</a:t>
                      </a:r>
                      <a:endParaRPr lang="en-US" dirty="0">
                        <a:solidFill>
                          <a:prstClr val="white"/>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Get Started Building</a:t>
                      </a:r>
                      <a:endParaRPr lang="en-US" dirty="0">
                        <a:solidFill>
                          <a:prstClr val="white"/>
                        </a:solidFill>
                        <a:latin typeface="Segoe UI Semibold"/>
                      </a:endParaRPr>
                    </a:p>
                  </a:txBody>
                  <a:tcPr/>
                </a:tc>
                <a:extLst>
                  <a:ext uri="{0D108BD9-81ED-4DB2-BD59-A6C34878D82A}">
                    <a16:rowId xmlns:a16="http://schemas.microsoft.com/office/drawing/2014/main" val="4130269991"/>
                  </a:ext>
                </a:extLst>
              </a:tr>
              <a:tr h="617429">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Learn</a:t>
                      </a:r>
                      <a:endParaRPr lang="en-US" sz="2000" dirty="0">
                        <a:solidFill>
                          <a:srgbClr val="00B0F0"/>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IoT Developers Channel </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IoT Tech Community</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Azure IoT Docs</a:t>
                      </a:r>
                      <a:endParaRPr lang="en-US" sz="2000" dirty="0">
                        <a:solidFill>
                          <a:srgbClr val="00B0F0"/>
                        </a:solidFill>
                        <a:latin typeface="Segoe UI"/>
                      </a:endParaRPr>
                    </a:p>
                  </a:txBody>
                  <a:tcPr/>
                </a:tc>
                <a:extLst>
                  <a:ext uri="{0D108BD9-81ED-4DB2-BD59-A6C34878D82A}">
                    <a16:rowId xmlns:a16="http://schemas.microsoft.com/office/drawing/2014/main" val="3612168474"/>
                  </a:ext>
                </a:extLst>
              </a:tr>
              <a:tr h="438547">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3">
                            <a:extLst>
                              <a:ext uri="{A12FA001-AC4F-418D-AE19-62706E023703}">
                                <ahyp:hlinkClr xmlns:ahyp="http://schemas.microsoft.com/office/drawing/2018/hyperlinkcolor" val="tx"/>
                              </a:ext>
                            </a:extLst>
                          </a:hlinkClick>
                        </a:rPr>
                        <a:t>https://aka.ms/mslearniot</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4">
                            <a:extLst>
                              <a:ext uri="{A12FA001-AC4F-418D-AE19-62706E023703}">
                                <ahyp:hlinkClr xmlns:ahyp="http://schemas.microsoft.com/office/drawing/2018/hyperlinkcolor" val="tx"/>
                              </a:ext>
                            </a:extLst>
                          </a:hlinkClick>
                        </a:rPr>
                        <a:t>https://aka.ms/msiotdevs</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5">
                            <a:extLst>
                              <a:ext uri="{A12FA001-AC4F-418D-AE19-62706E023703}">
                                <ahyp:hlinkClr xmlns:ahyp="http://schemas.microsoft.com/office/drawing/2018/hyperlinkcolor" val="tx"/>
                              </a:ext>
                            </a:extLst>
                          </a:hlinkClick>
                        </a:rPr>
                        <a:t>https://aka.ms/iottechcommunity</a:t>
                      </a:r>
                      <a:endParaRPr lang="en-US" sz="1400" u="sng" dirty="0">
                        <a:solidFill>
                          <a:srgbClr val="7EB0EB"/>
                        </a:solidFill>
                        <a:latin typeface="Segoe UI"/>
                      </a:endParaRPr>
                    </a:p>
                  </a:txBody>
                  <a:tcPr/>
                </a:tc>
                <a:tc>
                  <a:txBody>
                    <a:bodyPr/>
                    <a:lstStyle/>
                    <a:p>
                      <a:pPr algn="ctr"/>
                      <a:r>
                        <a:rPr lang="en-US" sz="1400" u="sng" dirty="0">
                          <a:solidFill>
                            <a:srgbClr val="7EB0EB"/>
                          </a:solidFill>
                          <a:hlinkClick r:id="rId6">
                            <a:extLst>
                              <a:ext uri="{A12FA001-AC4F-418D-AE19-62706E023703}">
                                <ahyp:hlinkClr xmlns:ahyp="http://schemas.microsoft.com/office/drawing/2018/hyperlinkcolor" val="tx"/>
                              </a:ext>
                            </a:extLst>
                          </a:hlinkClick>
                        </a:rPr>
                        <a:t>https://docs.microsoft.com/en-us/azure/iot-fundamentals/</a:t>
                      </a:r>
                      <a:endParaRPr lang="en-US" sz="1400" u="sng" dirty="0">
                        <a:solidFill>
                          <a:srgbClr val="7EB0EB"/>
                        </a:solidFill>
                      </a:endParaRPr>
                    </a:p>
                  </a:txBody>
                  <a:tcPr/>
                </a:tc>
                <a:extLst>
                  <a:ext uri="{0D108BD9-81ED-4DB2-BD59-A6C34878D82A}">
                    <a16:rowId xmlns:a16="http://schemas.microsoft.com/office/drawing/2014/main" val="1706665077"/>
                  </a:ext>
                </a:extLst>
              </a:tr>
              <a:tr h="1194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MS Learn is the go-to site for self-paced, step-by-step learning. We offer </a:t>
                      </a:r>
                      <a:r>
                        <a:rPr kumimoji="0" lang="en-US" sz="1200" b="1"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over 40+ individual learn modules</a:t>
                      </a: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 covering products such as Azure IoT Hub, IoT Edge, Digital Twins, and more. </a:t>
                      </a:r>
                      <a:endParaRPr lang="en-US" sz="1200" dirty="0">
                        <a:solidFill>
                          <a:schemeClr val="tx1"/>
                        </a:solidFill>
                        <a:latin typeface="+mn-lt"/>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Watch and learn about our products! View Deep Dives for deep technical learning.</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blog to  find technical posts describing and walking through latest IoT products services and features as well as news and announcements.</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quick starts, how-to guides, and tutorials on Azure IoT Docs to learn how to build your IoT solutions.</a:t>
                      </a:r>
                    </a:p>
                    <a:p>
                      <a:pPr algn="ctr"/>
                      <a:endParaRPr lang="en-US" sz="1200" dirty="0">
                        <a:solidFill>
                          <a:schemeClr val="tx1"/>
                        </a:solidFill>
                        <a:latin typeface="+mn-lt"/>
                      </a:endParaRPr>
                    </a:p>
                  </a:txBody>
                  <a:tcPr/>
                </a:tc>
                <a:extLst>
                  <a:ext uri="{0D108BD9-81ED-4DB2-BD59-A6C34878D82A}">
                    <a16:rowId xmlns:a16="http://schemas.microsoft.com/office/drawing/2014/main" val="2656155932"/>
                  </a:ext>
                </a:extLst>
              </a:tr>
            </a:tbl>
          </a:graphicData>
        </a:graphic>
      </p:graphicFrame>
      <p:sp>
        <p:nvSpPr>
          <p:cNvPr id="6" name="Rectangle 5">
            <a:extLst>
              <a:ext uri="{FF2B5EF4-FFF2-40B4-BE49-F238E27FC236}">
                <a16:creationId xmlns:a16="http://schemas.microsoft.com/office/drawing/2014/main" id="{7B185810-390E-474A-8042-E86A3D132417}"/>
              </a:ext>
            </a:extLst>
          </p:cNvPr>
          <p:cNvSpPr/>
          <p:nvPr/>
        </p:nvSpPr>
        <p:spPr>
          <a:xfrm>
            <a:off x="3012248" y="897020"/>
            <a:ext cx="3074823" cy="556345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3">
            <a:extLst>
              <a:ext uri="{FF2B5EF4-FFF2-40B4-BE49-F238E27FC236}">
                <a16:creationId xmlns:a16="http://schemas.microsoft.com/office/drawing/2014/main" id="{DFEA0320-94CD-4EEC-91B3-DE5DE59F24C9}"/>
              </a:ext>
            </a:extLst>
          </p:cNvPr>
          <p:cNvSpPr txBox="1">
            <a:spLocks/>
          </p:cNvSpPr>
          <p:nvPr/>
        </p:nvSpPr>
        <p:spPr>
          <a:xfrm>
            <a:off x="257297" y="195793"/>
            <a:ext cx="11541280" cy="74086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prstClr val="white"/>
                </a:solidFill>
                <a:effectLst/>
                <a:uLnTx/>
                <a:uFillTx/>
                <a:latin typeface="Segoe UI Semibold" panose="020B0702040204020203" pitchFamily="34" charset="0"/>
                <a:ea typeface="+mj-ea"/>
                <a:cs typeface="Segoe UI Semibold" panose="020B0702040204020203" pitchFamily="34" charset="0"/>
              </a:rPr>
              <a:t>Start upskilling on Azure IoT today! </a:t>
            </a:r>
          </a:p>
        </p:txBody>
      </p:sp>
      <p:sp>
        <p:nvSpPr>
          <p:cNvPr id="10" name="Rectangle 9">
            <a:extLst>
              <a:ext uri="{FF2B5EF4-FFF2-40B4-BE49-F238E27FC236}">
                <a16:creationId xmlns:a16="http://schemas.microsoft.com/office/drawing/2014/main" id="{E588C066-29C2-4D23-8438-230BDB6BE43C}"/>
              </a:ext>
            </a:extLst>
          </p:cNvPr>
          <p:cNvSpPr/>
          <p:nvPr/>
        </p:nvSpPr>
        <p:spPr>
          <a:xfrm>
            <a:off x="3065145" y="1281541"/>
            <a:ext cx="2846189" cy="2103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Segoe UI"/>
              <a:ea typeface="+mn-ea"/>
              <a:cs typeface="Segoe UI"/>
            </a:endParaRPr>
          </a:p>
        </p:txBody>
      </p:sp>
      <p:pic>
        <p:nvPicPr>
          <p:cNvPr id="12" name="Picture 11">
            <a:extLst>
              <a:ext uri="{FF2B5EF4-FFF2-40B4-BE49-F238E27FC236}">
                <a16:creationId xmlns:a16="http://schemas.microsoft.com/office/drawing/2014/main" id="{E7C676E7-F995-4512-A7ED-A0A3F811C705}"/>
              </a:ext>
            </a:extLst>
          </p:cNvPr>
          <p:cNvPicPr>
            <a:picLocks noChangeAspect="1"/>
          </p:cNvPicPr>
          <p:nvPr/>
        </p:nvPicPr>
        <p:blipFill>
          <a:blip r:embed="rId7"/>
          <a:stretch>
            <a:fillRect/>
          </a:stretch>
        </p:blipFill>
        <p:spPr>
          <a:xfrm>
            <a:off x="3161308" y="3357665"/>
            <a:ext cx="2543018" cy="2247575"/>
          </a:xfrm>
          <a:prstGeom prst="rect">
            <a:avLst/>
          </a:prstGeom>
          <a:ln w="12700">
            <a:solidFill>
              <a:schemeClr val="accent1"/>
            </a:solidFill>
          </a:ln>
        </p:spPr>
      </p:pic>
      <p:sp>
        <p:nvSpPr>
          <p:cNvPr id="18" name="AutoShape 2">
            <a:extLst>
              <a:ext uri="{FF2B5EF4-FFF2-40B4-BE49-F238E27FC236}">
                <a16:creationId xmlns:a16="http://schemas.microsoft.com/office/drawing/2014/main" id="{9619E72A-2075-4196-9248-8B1C102F95B5}"/>
              </a:ext>
            </a:extLst>
          </p:cNvPr>
          <p:cNvSpPr>
            <a:spLocks noChangeAspect="1" noChangeArrowheads="1"/>
          </p:cNvSpPr>
          <p:nvPr/>
        </p:nvSpPr>
        <p:spPr bwMode="auto">
          <a:xfrm>
            <a:off x="5911334" y="3244334"/>
            <a:ext cx="369332"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6" name="Graphic 25">
            <a:extLst>
              <a:ext uri="{FF2B5EF4-FFF2-40B4-BE49-F238E27FC236}">
                <a16:creationId xmlns:a16="http://schemas.microsoft.com/office/drawing/2014/main" id="{4C6C61ED-F7A3-46E6-A754-70FB754C0C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120" y="4409207"/>
            <a:ext cx="902614" cy="1071327"/>
          </a:xfrm>
          <a:prstGeom prst="rect">
            <a:avLst/>
          </a:prstGeom>
        </p:spPr>
      </p:pic>
      <p:pic>
        <p:nvPicPr>
          <p:cNvPr id="28" name="Graphic 27">
            <a:extLst>
              <a:ext uri="{FF2B5EF4-FFF2-40B4-BE49-F238E27FC236}">
                <a16:creationId xmlns:a16="http://schemas.microsoft.com/office/drawing/2014/main" id="{45E18FED-CFC3-4889-A124-4D5E47466A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8793" y="4833549"/>
            <a:ext cx="1373619" cy="1630370"/>
          </a:xfrm>
          <a:prstGeom prst="rect">
            <a:avLst/>
          </a:prstGeom>
        </p:spPr>
      </p:pic>
      <p:pic>
        <p:nvPicPr>
          <p:cNvPr id="30" name="Picture 29">
            <a:extLst>
              <a:ext uri="{FF2B5EF4-FFF2-40B4-BE49-F238E27FC236}">
                <a16:creationId xmlns:a16="http://schemas.microsoft.com/office/drawing/2014/main" id="{69A58FC5-D10A-460C-BA32-6F8B394C7E70}"/>
              </a:ext>
            </a:extLst>
          </p:cNvPr>
          <p:cNvPicPr>
            <a:picLocks noChangeAspect="1"/>
          </p:cNvPicPr>
          <p:nvPr/>
        </p:nvPicPr>
        <p:blipFill>
          <a:blip r:embed="rId12"/>
          <a:stretch>
            <a:fillRect/>
          </a:stretch>
        </p:blipFill>
        <p:spPr>
          <a:xfrm>
            <a:off x="3953947" y="5110360"/>
            <a:ext cx="1957387" cy="1100137"/>
          </a:xfrm>
          <a:prstGeom prst="rect">
            <a:avLst/>
          </a:prstGeom>
        </p:spPr>
      </p:pic>
      <p:pic>
        <p:nvPicPr>
          <p:cNvPr id="32" name="Picture 31">
            <a:extLst>
              <a:ext uri="{FF2B5EF4-FFF2-40B4-BE49-F238E27FC236}">
                <a16:creationId xmlns:a16="http://schemas.microsoft.com/office/drawing/2014/main" id="{FFE6B2D3-1A30-4A23-B475-A66D605B4FEC}"/>
              </a:ext>
            </a:extLst>
          </p:cNvPr>
          <p:cNvPicPr>
            <a:picLocks noChangeAspect="1"/>
          </p:cNvPicPr>
          <p:nvPr/>
        </p:nvPicPr>
        <p:blipFill>
          <a:blip r:embed="rId13"/>
          <a:stretch>
            <a:fillRect/>
          </a:stretch>
        </p:blipFill>
        <p:spPr>
          <a:xfrm>
            <a:off x="6202773" y="3868193"/>
            <a:ext cx="2715812" cy="1829968"/>
          </a:xfrm>
          <a:prstGeom prst="rect">
            <a:avLst/>
          </a:prstGeom>
          <a:ln w="12700">
            <a:solidFill>
              <a:schemeClr val="accent1"/>
            </a:solidFill>
          </a:ln>
        </p:spPr>
      </p:pic>
      <p:pic>
        <p:nvPicPr>
          <p:cNvPr id="34" name="Picture 33">
            <a:extLst>
              <a:ext uri="{FF2B5EF4-FFF2-40B4-BE49-F238E27FC236}">
                <a16:creationId xmlns:a16="http://schemas.microsoft.com/office/drawing/2014/main" id="{90DA9D98-3A97-4227-8505-B1863DCF4533}"/>
              </a:ext>
            </a:extLst>
          </p:cNvPr>
          <p:cNvPicPr>
            <a:picLocks noChangeAspect="1"/>
          </p:cNvPicPr>
          <p:nvPr/>
        </p:nvPicPr>
        <p:blipFill>
          <a:blip r:embed="rId14"/>
          <a:stretch>
            <a:fillRect/>
          </a:stretch>
        </p:blipFill>
        <p:spPr>
          <a:xfrm>
            <a:off x="7233031" y="4913465"/>
            <a:ext cx="1472073" cy="1221616"/>
          </a:xfrm>
          <a:prstGeom prst="rect">
            <a:avLst/>
          </a:prstGeom>
          <a:ln w="12700">
            <a:solidFill>
              <a:schemeClr val="accent1"/>
            </a:solidFill>
          </a:ln>
        </p:spPr>
      </p:pic>
      <p:sp>
        <p:nvSpPr>
          <p:cNvPr id="36" name="Rectangle 35">
            <a:extLst>
              <a:ext uri="{FF2B5EF4-FFF2-40B4-BE49-F238E27FC236}">
                <a16:creationId xmlns:a16="http://schemas.microsoft.com/office/drawing/2014/main" id="{8CD98B1B-E3A2-41AB-927F-CFADDD2F4B61}"/>
              </a:ext>
            </a:extLst>
          </p:cNvPr>
          <p:cNvSpPr/>
          <p:nvPr/>
        </p:nvSpPr>
        <p:spPr>
          <a:xfrm>
            <a:off x="9074436" y="897020"/>
            <a:ext cx="2948565" cy="562393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1120499E-AF4E-4709-BF60-11CF1A480BD1}"/>
              </a:ext>
            </a:extLst>
          </p:cNvPr>
          <p:cNvPicPr>
            <a:picLocks noChangeAspect="1"/>
          </p:cNvPicPr>
          <p:nvPr/>
        </p:nvPicPr>
        <p:blipFill>
          <a:blip r:embed="rId15"/>
          <a:stretch>
            <a:fillRect/>
          </a:stretch>
        </p:blipFill>
        <p:spPr>
          <a:xfrm>
            <a:off x="9507166" y="4245891"/>
            <a:ext cx="2291411" cy="1525053"/>
          </a:xfrm>
          <a:prstGeom prst="rect">
            <a:avLst/>
          </a:prstGeom>
          <a:ln w="12700">
            <a:solidFill>
              <a:schemeClr val="accent1"/>
            </a:solidFill>
          </a:ln>
        </p:spPr>
      </p:pic>
      <p:pic>
        <p:nvPicPr>
          <p:cNvPr id="40" name="Picture 39">
            <a:extLst>
              <a:ext uri="{FF2B5EF4-FFF2-40B4-BE49-F238E27FC236}">
                <a16:creationId xmlns:a16="http://schemas.microsoft.com/office/drawing/2014/main" id="{91E5FD47-34F7-4CD6-95EF-BF69A4D45088}"/>
              </a:ext>
            </a:extLst>
          </p:cNvPr>
          <p:cNvPicPr>
            <a:picLocks noChangeAspect="1"/>
          </p:cNvPicPr>
          <p:nvPr/>
        </p:nvPicPr>
        <p:blipFill>
          <a:blip r:embed="rId16"/>
          <a:stretch>
            <a:fillRect/>
          </a:stretch>
        </p:blipFill>
        <p:spPr>
          <a:xfrm>
            <a:off x="9196814" y="3636317"/>
            <a:ext cx="2254685" cy="876379"/>
          </a:xfrm>
          <a:prstGeom prst="rect">
            <a:avLst/>
          </a:prstGeom>
          <a:ln w="12700">
            <a:solidFill>
              <a:schemeClr val="accent1"/>
            </a:solidFill>
          </a:ln>
        </p:spPr>
      </p:pic>
      <p:sp>
        <p:nvSpPr>
          <p:cNvPr id="41" name="TextBox 4">
            <a:extLst>
              <a:ext uri="{FF2B5EF4-FFF2-40B4-BE49-F238E27FC236}">
                <a16:creationId xmlns:a16="http://schemas.microsoft.com/office/drawing/2014/main" id="{BCFE153D-965E-48D2-942E-A755707B92C0}"/>
              </a:ext>
            </a:extLst>
          </p:cNvPr>
          <p:cNvSpPr txBox="1"/>
          <p:nvPr/>
        </p:nvSpPr>
        <p:spPr>
          <a:xfrm>
            <a:off x="188818" y="3745112"/>
            <a:ext cx="2787824" cy="861774"/>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17"/>
              </a:rPr>
              <a:t>https://aka.ms/IntroAzureIoTLearningPath</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671499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0"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10838" y="422596"/>
            <a:ext cx="9263739" cy="548985"/>
          </a:xfrm>
        </p:spPr>
        <p:txBody>
          <a:bodyPr/>
          <a:lstStyle/>
          <a:p>
            <a:r>
              <a:rPr lang="en-US" sz="4400" dirty="0">
                <a:solidFill>
                  <a:schemeClr val="tx1"/>
                </a:solidFill>
              </a:rPr>
              <a:t>Agenda</a:t>
            </a:r>
            <a:endParaRPr lang="en-US" sz="4400" dirty="0">
              <a:gradFill>
                <a:gsLst>
                  <a:gs pos="0">
                    <a:schemeClr val="accent5"/>
                  </a:gs>
                  <a:gs pos="100000">
                    <a:schemeClr val="accent4"/>
                  </a:gs>
                </a:gsLst>
                <a:lin ang="2700000" scaled="1"/>
              </a:gradFill>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25091" y="1214899"/>
            <a:ext cx="10492313" cy="5308564"/>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742950" indent="-742950">
              <a:buAutoNum type="arabicPeriod"/>
            </a:pPr>
            <a:r>
              <a:rPr lang="en-US" sz="3600" dirty="0">
                <a:gradFill>
                  <a:gsLst>
                    <a:gs pos="0">
                      <a:schemeClr val="accent5"/>
                    </a:gs>
                    <a:gs pos="100000">
                      <a:schemeClr val="accent4"/>
                    </a:gs>
                  </a:gsLst>
                  <a:lin ang="2700000" scaled="1"/>
                </a:gradFill>
              </a:rPr>
              <a:t>What is Azure IoT Hub</a:t>
            </a:r>
          </a:p>
          <a:p>
            <a:pPr marL="742950" indent="-742950">
              <a:buAutoNum type="arabicPeriod"/>
            </a:pPr>
            <a:r>
              <a:rPr lang="en-US" sz="3600" dirty="0">
                <a:gradFill>
                  <a:gsLst>
                    <a:gs pos="0">
                      <a:schemeClr val="accent5"/>
                    </a:gs>
                    <a:gs pos="100000">
                      <a:schemeClr val="accent4"/>
                    </a:gs>
                  </a:gsLst>
                  <a:lin ang="2700000" scaled="1"/>
                </a:gradFill>
              </a:rPr>
              <a:t>Connectivity Models</a:t>
            </a:r>
          </a:p>
          <a:p>
            <a:pPr marL="742950" indent="-742950">
              <a:buAutoNum type="arabicPeriod"/>
            </a:pPr>
            <a:r>
              <a:rPr lang="en-US" sz="3600" dirty="0">
                <a:gradFill>
                  <a:gsLst>
                    <a:gs pos="0">
                      <a:schemeClr val="accent5"/>
                    </a:gs>
                    <a:gs pos="100000">
                      <a:schemeClr val="accent4"/>
                    </a:gs>
                  </a:gsLst>
                  <a:lin ang="2700000" scaled="1"/>
                </a:gradFill>
              </a:rPr>
              <a:t>Communication Protocols</a:t>
            </a:r>
          </a:p>
          <a:p>
            <a:pPr marL="742950" indent="-742950">
              <a:buAutoNum type="arabicPeriod"/>
            </a:pPr>
            <a:r>
              <a:rPr lang="en-US" sz="3600" dirty="0">
                <a:gradFill>
                  <a:gsLst>
                    <a:gs pos="0">
                      <a:schemeClr val="accent5"/>
                    </a:gs>
                    <a:gs pos="100000">
                      <a:schemeClr val="accent4"/>
                    </a:gs>
                  </a:gsLst>
                  <a:lin ang="2700000" scaled="1"/>
                </a:gradFill>
              </a:rPr>
              <a:t>Azure IoT SDKs</a:t>
            </a:r>
          </a:p>
          <a:p>
            <a:pPr marL="742950" indent="-742950">
              <a:buAutoNum type="arabicPeriod"/>
            </a:pPr>
            <a:r>
              <a:rPr lang="en-US" sz="3600" dirty="0">
                <a:gradFill>
                  <a:gsLst>
                    <a:gs pos="0">
                      <a:schemeClr val="accent5"/>
                    </a:gs>
                    <a:gs pos="100000">
                      <a:schemeClr val="accent4"/>
                    </a:gs>
                  </a:gsLst>
                  <a:lin ang="2700000" scaled="1"/>
                </a:gradFill>
              </a:rPr>
              <a:t>Azure IoT Hub Message</a:t>
            </a:r>
          </a:p>
          <a:p>
            <a:pPr marL="742950" indent="-742950">
              <a:buAutoNum type="arabicPeriod"/>
            </a:pPr>
            <a:r>
              <a:rPr lang="en-US" sz="3600" dirty="0">
                <a:gradFill>
                  <a:gsLst>
                    <a:gs pos="0">
                      <a:schemeClr val="accent5"/>
                    </a:gs>
                    <a:gs pos="100000">
                      <a:schemeClr val="accent4"/>
                    </a:gs>
                  </a:gsLst>
                  <a:lin ang="2700000" scaled="1"/>
                </a:gradFill>
              </a:rPr>
              <a:t>Device Update for IoT Hub</a:t>
            </a:r>
          </a:p>
          <a:p>
            <a:pPr marL="742950" indent="-742950">
              <a:buAutoNum type="arabicPeriod"/>
            </a:pPr>
            <a:r>
              <a:rPr lang="en-US" sz="3600" dirty="0">
                <a:gradFill>
                  <a:gsLst>
                    <a:gs pos="0">
                      <a:schemeClr val="accent5"/>
                    </a:gs>
                    <a:gs pos="100000">
                      <a:schemeClr val="accent4"/>
                    </a:gs>
                  </a:gsLst>
                  <a:lin ang="2700000" scaled="1"/>
                </a:gradFill>
              </a:rPr>
              <a:t>Tooling</a:t>
            </a:r>
          </a:p>
          <a:p>
            <a:pPr marL="742950" indent="-742950">
              <a:buFontTx/>
              <a:buAutoNum type="arabicPeriod"/>
            </a:pPr>
            <a:r>
              <a:rPr lang="en-US" sz="3600" dirty="0"/>
              <a:t>DEMO: </a:t>
            </a:r>
            <a:r>
              <a:rPr lang="en-US" sz="3600" dirty="0">
                <a:gradFill>
                  <a:gsLst>
                    <a:gs pos="0">
                      <a:schemeClr val="accent5"/>
                    </a:gs>
                    <a:gs pos="100000">
                      <a:schemeClr val="accent4"/>
                    </a:gs>
                  </a:gsLst>
                  <a:lin ang="2700000" scaled="1"/>
                </a:gradFill>
              </a:rPr>
              <a:t>Azure IoT Hub Walkthrough</a:t>
            </a:r>
          </a:p>
          <a:p>
            <a:pPr marL="742950" indent="-742950">
              <a:buAutoNum type="arabicPeriod"/>
            </a:pPr>
            <a:r>
              <a:rPr lang="en-US" sz="3600" dirty="0">
                <a:gradFill>
                  <a:gsLst>
                    <a:gs pos="0">
                      <a:schemeClr val="accent5"/>
                    </a:gs>
                    <a:gs pos="100000">
                      <a:schemeClr val="accent4"/>
                    </a:gs>
                  </a:gsLst>
                  <a:lin ang="2700000" scaled="1"/>
                </a:gradFill>
              </a:rPr>
              <a:t>Resources</a:t>
            </a:r>
          </a:p>
          <a:p>
            <a:pPr marL="742950" indent="-742950">
              <a:buAutoNum type="arabicPeriod"/>
            </a:pPr>
            <a:r>
              <a:rPr lang="en-US" sz="3600" dirty="0">
                <a:gradFill>
                  <a:gsLst>
                    <a:gs pos="0">
                      <a:schemeClr val="accent5"/>
                    </a:gs>
                    <a:gs pos="100000">
                      <a:schemeClr val="accent4"/>
                    </a:gs>
                  </a:gsLst>
                  <a:lin ang="2700000" scaled="1"/>
                </a:gradFill>
              </a:rPr>
              <a:t>Live Q&amp;A</a:t>
            </a: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endParaRPr lang="en-US" sz="36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1485158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1.66667E-6 -3.7037E-7 L -1.66667E-6 0.01898 " pathEditMode="relative" rAng="0" ptsTypes="AA">
                                      <p:cBhvr>
                                        <p:cTn id="9" dur="700" spd="-100000" fill="hold"/>
                                        <p:tgtEl>
                                          <p:spTgt spid="3"/>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2.70833E-6 -3.7037E-7 L 2.70833E-6 0.01898 " pathEditMode="relative" rAng="0" ptsTypes="AA">
                                      <p:cBhvr>
                                        <p:cTn id="14"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1281102"/>
            <a:ext cx="11085518" cy="4774010"/>
          </a:xfrm>
        </p:spPr>
        <p:txBody>
          <a:bodyPr/>
          <a:lstStyle/>
          <a:p>
            <a:r>
              <a:rPr lang="en-US" sz="4400" dirty="0">
                <a:gradFill>
                  <a:gsLst>
                    <a:gs pos="0">
                      <a:schemeClr val="accent5"/>
                    </a:gs>
                    <a:gs pos="100000">
                      <a:schemeClr val="accent4"/>
                    </a:gs>
                  </a:gsLst>
                  <a:lin ang="2700000" scaled="1"/>
                </a:gradFill>
              </a:rPr>
              <a:t>Live Q&amp;A </a:t>
            </a:r>
            <a:br>
              <a:rPr lang="en-US" sz="4400" dirty="0">
                <a:gradFill>
                  <a:gsLst>
                    <a:gs pos="0">
                      <a:schemeClr val="accent5"/>
                    </a:gs>
                    <a:gs pos="100000">
                      <a:schemeClr val="accent4"/>
                    </a:gs>
                  </a:gsLst>
                  <a:lin ang="2700000" scaled="1"/>
                </a:gradFill>
              </a:rPr>
            </a:br>
            <a:r>
              <a:rPr lang="en-US" sz="4400" dirty="0">
                <a:gradFill>
                  <a:gsLst>
                    <a:gs pos="0">
                      <a:schemeClr val="accent5"/>
                    </a:gs>
                    <a:gs pos="100000">
                      <a:schemeClr val="accent4"/>
                    </a:gs>
                  </a:gsLst>
                  <a:lin ang="2700000" scaled="1"/>
                </a:gradFill>
              </a:rPr>
              <a:t>Thank you!</a:t>
            </a: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r>
              <a:rPr lang="en-US" sz="2000" dirty="0"/>
              <a:t>IoT Arch Reference: </a:t>
            </a:r>
            <a:r>
              <a:rPr lang="en-US" sz="2000" dirty="0">
                <a:hlinkClick r:id="rId3"/>
              </a:rPr>
              <a:t>https://aka.ms/iotrefarchitecture</a:t>
            </a:r>
            <a:br>
              <a:rPr lang="en-US" sz="2000" dirty="0"/>
            </a:br>
            <a:r>
              <a:rPr lang="en-US" sz="2000" dirty="0"/>
              <a:t>Azure Account Signup: </a:t>
            </a:r>
            <a:r>
              <a:rPr lang="en-US" sz="2000" dirty="0">
                <a:hlinkClick r:id="rId4"/>
              </a:rPr>
              <a:t>https://aka.ms/get-started-azure-2021</a:t>
            </a:r>
            <a:br>
              <a:rPr lang="en-US" sz="2000" dirty="0"/>
            </a:br>
            <a:r>
              <a:rPr lang="en-US" sz="2000" dirty="0"/>
              <a:t>Azure IoT Central: </a:t>
            </a:r>
            <a:r>
              <a:rPr lang="en-US" sz="2000" dirty="0">
                <a:hlinkClick r:id="rId5"/>
              </a:rPr>
              <a:t>https://apps.azureiotcentral.com/myapps</a:t>
            </a:r>
            <a:br>
              <a:rPr lang="en-US" sz="2000" dirty="0"/>
            </a:br>
            <a:r>
              <a:rPr lang="en-US" sz="2000" dirty="0"/>
              <a:t>Cloud Skills Challenge: </a:t>
            </a:r>
            <a:r>
              <a:rPr lang="en-US" sz="2000" dirty="0">
                <a:hlinkClick r:id="rId6"/>
              </a:rPr>
              <a:t>https://aka.ms/30DaysCSC/IoT </a:t>
            </a:r>
            <a:br>
              <a:rPr lang="en-US" sz="2000" dirty="0"/>
            </a:br>
            <a:r>
              <a:rPr lang="en-US" sz="2000" dirty="0"/>
              <a:t>MS Learn: </a:t>
            </a:r>
            <a:r>
              <a:rPr lang="en-US" sz="2000" dirty="0">
                <a:hlinkClick r:id="rId7"/>
              </a:rPr>
              <a:t>https://aka.ms/mslearniot</a:t>
            </a:r>
            <a:br>
              <a:rPr lang="en-US" sz="2000" dirty="0"/>
            </a:br>
            <a:r>
              <a:rPr lang="en-US" sz="2000" dirty="0"/>
              <a:t>MSFT IoT Developer Video Channel: </a:t>
            </a:r>
            <a:r>
              <a:rPr lang="en-US" sz="2000" dirty="0">
                <a:hlinkClick r:id="rId8"/>
              </a:rPr>
              <a:t>https://aka.ms/msiotdevs</a:t>
            </a:r>
            <a:br>
              <a:rPr lang="en-US" sz="2000" dirty="0"/>
            </a:br>
            <a:r>
              <a:rPr lang="en-US" sz="2000" dirty="0"/>
              <a:t>IoT Tech Community: </a:t>
            </a:r>
            <a:r>
              <a:rPr lang="en-US" sz="2000" dirty="0">
                <a:hlinkClick r:id="rId9"/>
              </a:rPr>
              <a:t>https://aka.ms/iottechcommunity</a:t>
            </a:r>
            <a:br>
              <a:rPr lang="en-US" sz="2000" dirty="0"/>
            </a:br>
            <a:r>
              <a:rPr lang="en-US" sz="2000" dirty="0"/>
              <a:t>Azure IoT Docs: </a:t>
            </a:r>
            <a:r>
              <a:rPr lang="en-US" sz="2000" dirty="0">
                <a:hlinkClick r:id="rId10"/>
              </a:rPr>
              <a:t>https://docs.microsoft.com/en-us/azure/iot-fundamentals/</a:t>
            </a:r>
            <a:br>
              <a:rPr lang="en-US" dirty="0"/>
            </a:b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endParaRPr lang="en-US" sz="44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3365518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91667E-6 -2.22222E-6 L 2.91667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001690-357E-41D6-936F-61C6DF3159DA}"/>
              </a:ext>
            </a:extLst>
          </p:cNvPr>
          <p:cNvSpPr>
            <a:spLocks noGrp="1"/>
          </p:cNvSpPr>
          <p:nvPr>
            <p:ph type="title"/>
          </p:nvPr>
        </p:nvSpPr>
        <p:spPr>
          <a:xfrm>
            <a:off x="588263" y="457200"/>
            <a:ext cx="11018520" cy="492443"/>
          </a:xfrm>
        </p:spPr>
        <p:txBody>
          <a:bodyPr/>
          <a:lstStyle/>
          <a:p>
            <a:pPr algn="ctr"/>
            <a:r>
              <a:rPr lang="en-US" sz="3200"/>
              <a:t>Microsoft’s comprehensive IoT product portfolio</a:t>
            </a:r>
          </a:p>
        </p:txBody>
      </p:sp>
      <p:sp>
        <p:nvSpPr>
          <p:cNvPr id="92" name="Rectangle 91">
            <a:extLst>
              <a:ext uri="{FF2B5EF4-FFF2-40B4-BE49-F238E27FC236}">
                <a16:creationId xmlns:a16="http://schemas.microsoft.com/office/drawing/2014/main" id="{90F0B97A-9D52-487F-92BD-4FD4D509C5FF}"/>
              </a:ext>
              <a:ext uri="{C183D7F6-B498-43B3-948B-1728B52AA6E4}">
                <adec:decorative xmlns:adec="http://schemas.microsoft.com/office/drawing/2017/decorative" val="1"/>
              </a:ext>
            </a:extLst>
          </p:cNvPr>
          <p:cNvSpPr/>
          <p:nvPr/>
        </p:nvSpPr>
        <p:spPr bwMode="auto">
          <a:xfrm>
            <a:off x="348473" y="1534937"/>
            <a:ext cx="1653436" cy="5056782"/>
          </a:xfrm>
          <a:prstGeom prst="rect">
            <a:avLst/>
          </a:prstGeom>
          <a:gradFill flip="none" rotWithShape="1">
            <a:gsLst>
              <a:gs pos="2000">
                <a:srgbClr val="50E6FF">
                  <a:alpha val="31000"/>
                </a:srgbClr>
              </a:gs>
              <a:gs pos="73000">
                <a:srgbClr val="000000">
                  <a:alpha val="0"/>
                </a:srgbClr>
              </a:gs>
            </a:gsLst>
            <a:lin ang="108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6" name="Rectangle 95">
            <a:extLst>
              <a:ext uri="{FF2B5EF4-FFF2-40B4-BE49-F238E27FC236}">
                <a16:creationId xmlns:a16="http://schemas.microsoft.com/office/drawing/2014/main" id="{27077EE2-DB1E-4B8A-A35F-6E9335B2C22B}"/>
              </a:ext>
            </a:extLst>
          </p:cNvPr>
          <p:cNvSpPr/>
          <p:nvPr/>
        </p:nvSpPr>
        <p:spPr bwMode="auto">
          <a:xfrm>
            <a:off x="2075232" y="1584485"/>
            <a:ext cx="2120541"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t>Azure IoT </a:t>
            </a:r>
            <a:b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br>
            <a: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t>priority verticals</a:t>
            </a:r>
          </a:p>
        </p:txBody>
      </p:sp>
      <p:sp>
        <p:nvSpPr>
          <p:cNvPr id="97" name="Rectangle 96">
            <a:extLst>
              <a:ext uri="{FF2B5EF4-FFF2-40B4-BE49-F238E27FC236}">
                <a16:creationId xmlns:a16="http://schemas.microsoft.com/office/drawing/2014/main" id="{4609A874-4516-4150-97CB-331D88C65337}"/>
              </a:ext>
            </a:extLst>
          </p:cNvPr>
          <p:cNvSpPr/>
          <p:nvPr/>
        </p:nvSpPr>
        <p:spPr bwMode="auto">
          <a:xfrm>
            <a:off x="2247621" y="4027292"/>
            <a:ext cx="2066989"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Segoe UI" pitchFamily="34" charset="0"/>
              </a:rPr>
              <a:t>Azure Services for IoT</a:t>
            </a:r>
          </a:p>
        </p:txBody>
      </p:sp>
      <p:sp>
        <p:nvSpPr>
          <p:cNvPr id="98" name="Rectangle 97">
            <a:extLst>
              <a:ext uri="{FF2B5EF4-FFF2-40B4-BE49-F238E27FC236}">
                <a16:creationId xmlns:a16="http://schemas.microsoft.com/office/drawing/2014/main" id="{AD892763-FBCB-430F-80B6-11DF3F03A662}"/>
              </a:ext>
            </a:extLst>
          </p:cNvPr>
          <p:cNvSpPr/>
          <p:nvPr/>
        </p:nvSpPr>
        <p:spPr>
          <a:xfrm>
            <a:off x="4087637" y="3473407"/>
            <a:ext cx="7755889" cy="1373420"/>
          </a:xfrm>
          <a:prstGeom prst="rect">
            <a:avLst/>
          </a:prstGeom>
        </p:spPr>
        <p:txBody>
          <a:bodyPr wrap="square" lIns="91427" numCol="3" anchor="ctr">
            <a:no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Hub</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Hub Device</a:t>
            </a:r>
            <a:b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b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rovisioning Servic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igital Twin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Time Series Insight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a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ream Analytic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smos DB</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AI</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gnitive Service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Logic Ap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Active Directory</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onitor</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evO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ower BI</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ata Shar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patial Anchors </a:t>
            </a:r>
          </a:p>
        </p:txBody>
      </p:sp>
      <p:sp>
        <p:nvSpPr>
          <p:cNvPr id="99" name="Rectangle 98">
            <a:extLst>
              <a:ext uri="{FF2B5EF4-FFF2-40B4-BE49-F238E27FC236}">
                <a16:creationId xmlns:a16="http://schemas.microsoft.com/office/drawing/2014/main" id="{161FE5A5-3267-4773-9CBF-99B36F3DDD73}"/>
              </a:ext>
            </a:extLst>
          </p:cNvPr>
          <p:cNvSpPr/>
          <p:nvPr/>
        </p:nvSpPr>
        <p:spPr bwMode="auto">
          <a:xfrm>
            <a:off x="2247621" y="5594187"/>
            <a:ext cx="2066989"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IoT &amp; Edge</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Device Support</a:t>
            </a:r>
          </a:p>
        </p:txBody>
      </p:sp>
      <p:sp>
        <p:nvSpPr>
          <p:cNvPr id="100" name="Rectangle 99">
            <a:extLst>
              <a:ext uri="{FF2B5EF4-FFF2-40B4-BE49-F238E27FC236}">
                <a16:creationId xmlns:a16="http://schemas.microsoft.com/office/drawing/2014/main" id="{0A1B0496-F650-4E85-8FE9-C02771F4AC75}"/>
              </a:ext>
            </a:extLst>
          </p:cNvPr>
          <p:cNvSpPr/>
          <p:nvPr/>
        </p:nvSpPr>
        <p:spPr>
          <a:xfrm>
            <a:off x="4087643" y="5204056"/>
            <a:ext cx="7755883" cy="1141016"/>
          </a:xfrm>
          <a:prstGeom prst="rect">
            <a:avLst/>
          </a:prstGeom>
        </p:spPr>
        <p:txBody>
          <a:bodyPr wrap="square" lIns="91427" numCol="3" anchor="ctr">
            <a:no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RTO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pher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Device SDK</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Edg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ack Edg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Windows IoT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ertified for IoT—Device Catalog</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ream Analytic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orage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Q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Function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gnitive Services</a:t>
            </a:r>
          </a:p>
        </p:txBody>
      </p:sp>
      <p:cxnSp>
        <p:nvCxnSpPr>
          <p:cNvPr id="101" name="Straight Connector 100">
            <a:extLst>
              <a:ext uri="{FF2B5EF4-FFF2-40B4-BE49-F238E27FC236}">
                <a16:creationId xmlns:a16="http://schemas.microsoft.com/office/drawing/2014/main" id="{AB34E5DD-DCB6-4A2D-9039-63C94196B405}"/>
              </a:ext>
              <a:ext uri="{C183D7F6-B498-43B3-948B-1728B52AA6E4}">
                <adec:decorative xmlns:adec="http://schemas.microsoft.com/office/drawing/2017/decorative" val="1"/>
              </a:ext>
            </a:extLst>
          </p:cNvPr>
          <p:cNvCxnSpPr>
            <a:cxnSpLocks/>
          </p:cNvCxnSpPr>
          <p:nvPr/>
        </p:nvCxnSpPr>
        <p:spPr>
          <a:xfrm>
            <a:off x="1995754" y="2124986"/>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sp>
        <p:nvSpPr>
          <p:cNvPr id="102" name="Rectangle 101">
            <a:extLst>
              <a:ext uri="{FF2B5EF4-FFF2-40B4-BE49-F238E27FC236}">
                <a16:creationId xmlns:a16="http://schemas.microsoft.com/office/drawing/2014/main" id="{D2DB11BE-2A53-44E4-913B-B3FE2CEBA450}"/>
              </a:ext>
            </a:extLst>
          </p:cNvPr>
          <p:cNvSpPr/>
          <p:nvPr/>
        </p:nvSpPr>
        <p:spPr bwMode="auto">
          <a:xfrm>
            <a:off x="2247622" y="2598655"/>
            <a:ext cx="1751338"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Segoe UI" pitchFamily="34" charset="0"/>
              </a:rPr>
              <a:t>Azure IoT Solutions</a:t>
            </a:r>
          </a:p>
        </p:txBody>
      </p:sp>
      <p:sp>
        <p:nvSpPr>
          <p:cNvPr id="103" name="Rectangle 102">
            <a:extLst>
              <a:ext uri="{FF2B5EF4-FFF2-40B4-BE49-F238E27FC236}">
                <a16:creationId xmlns:a16="http://schemas.microsoft.com/office/drawing/2014/main" id="{A090862A-0645-419E-ABDD-55785AAF7AB7}"/>
              </a:ext>
            </a:extLst>
          </p:cNvPr>
          <p:cNvSpPr/>
          <p:nvPr/>
        </p:nvSpPr>
        <p:spPr bwMode="auto">
          <a:xfrm>
            <a:off x="4053785" y="2422585"/>
            <a:ext cx="1555763" cy="679001"/>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27"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Central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SaaS)</a:t>
            </a:r>
          </a:p>
        </p:txBody>
      </p:sp>
      <p:sp>
        <p:nvSpPr>
          <p:cNvPr id="104" name="Rectangle 103">
            <a:extLst>
              <a:ext uri="{FF2B5EF4-FFF2-40B4-BE49-F238E27FC236}">
                <a16:creationId xmlns:a16="http://schemas.microsoft.com/office/drawing/2014/main" id="{F3EE5285-A24F-4E3B-B73F-256A64735CFA}"/>
              </a:ext>
            </a:extLst>
          </p:cNvPr>
          <p:cNvSpPr/>
          <p:nvPr/>
        </p:nvSpPr>
        <p:spPr bwMode="auto">
          <a:xfrm>
            <a:off x="6477604" y="2365131"/>
            <a:ext cx="2367639" cy="793908"/>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82780"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Reference Architecture &amp; Accelerators  </a:t>
            </a:r>
            <a:b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b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aaS)</a:t>
            </a:r>
          </a:p>
        </p:txBody>
      </p:sp>
      <p:grpSp>
        <p:nvGrpSpPr>
          <p:cNvPr id="105" name="Graphic 56">
            <a:extLst>
              <a:ext uri="{FF2B5EF4-FFF2-40B4-BE49-F238E27FC236}">
                <a16:creationId xmlns:a16="http://schemas.microsoft.com/office/drawing/2014/main" id="{721B3BA5-2505-4C40-8DF1-8B9283EDE92C}"/>
              </a:ext>
              <a:ext uri="{C183D7F6-B498-43B3-948B-1728B52AA6E4}">
                <adec:decorative xmlns:adec="http://schemas.microsoft.com/office/drawing/2017/decorative" val="1"/>
              </a:ext>
            </a:extLst>
          </p:cNvPr>
          <p:cNvGrpSpPr/>
          <p:nvPr/>
        </p:nvGrpSpPr>
        <p:grpSpPr>
          <a:xfrm>
            <a:off x="11154796" y="1315012"/>
            <a:ext cx="451987" cy="259444"/>
            <a:chOff x="9027932" y="2355248"/>
            <a:chExt cx="791527" cy="454343"/>
          </a:xfrm>
          <a:solidFill>
            <a:srgbClr val="50E6FF"/>
          </a:solidFill>
        </p:grpSpPr>
        <p:sp>
          <p:nvSpPr>
            <p:cNvPr id="106" name="Freeform: Shape 105">
              <a:extLst>
                <a:ext uri="{FF2B5EF4-FFF2-40B4-BE49-F238E27FC236}">
                  <a16:creationId xmlns:a16="http://schemas.microsoft.com/office/drawing/2014/main" id="{03537B3C-2198-4212-B053-0489C1863956}"/>
                </a:ext>
              </a:extLst>
            </p:cNvPr>
            <p:cNvSpPr/>
            <p:nvPr/>
          </p:nvSpPr>
          <p:spPr>
            <a:xfrm>
              <a:off x="9027932" y="2355248"/>
              <a:ext cx="581025" cy="400050"/>
            </a:xfrm>
            <a:custGeom>
              <a:avLst/>
              <a:gdLst>
                <a:gd name="connsiteX0" fmla="*/ 0 w 581025"/>
                <a:gd name="connsiteY0" fmla="*/ 0 h 400050"/>
                <a:gd name="connsiteX1" fmla="*/ 0 w 581025"/>
                <a:gd name="connsiteY1" fmla="*/ 406718 h 400050"/>
                <a:gd name="connsiteX2" fmla="*/ 46673 w 581025"/>
                <a:gd name="connsiteY2" fmla="*/ 406718 h 400050"/>
                <a:gd name="connsiteX3" fmla="*/ 116205 w 581025"/>
                <a:gd name="connsiteY3" fmla="*/ 341948 h 400050"/>
                <a:gd name="connsiteX4" fmla="*/ 185738 w 581025"/>
                <a:gd name="connsiteY4" fmla="*/ 406718 h 400050"/>
                <a:gd name="connsiteX5" fmla="*/ 581025 w 581025"/>
                <a:gd name="connsiteY5" fmla="*/ 406718 h 400050"/>
                <a:gd name="connsiteX6" fmla="*/ 581025 w 581025"/>
                <a:gd name="connsiteY6" fmla="*/ 0 h 400050"/>
                <a:gd name="connsiteX7" fmla="*/ 0 w 581025"/>
                <a:gd name="connsiteY7" fmla="*/ 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1025" h="400050">
                  <a:moveTo>
                    <a:pt x="0" y="0"/>
                  </a:moveTo>
                  <a:lnTo>
                    <a:pt x="0" y="406718"/>
                  </a:lnTo>
                  <a:lnTo>
                    <a:pt x="46673" y="406718"/>
                  </a:lnTo>
                  <a:cubicBezTo>
                    <a:pt x="49530" y="370523"/>
                    <a:pt x="79058" y="341948"/>
                    <a:pt x="116205" y="341948"/>
                  </a:cubicBezTo>
                  <a:cubicBezTo>
                    <a:pt x="153353" y="341948"/>
                    <a:pt x="182880" y="370523"/>
                    <a:pt x="185738" y="406718"/>
                  </a:cubicBezTo>
                  <a:lnTo>
                    <a:pt x="581025" y="406718"/>
                  </a:lnTo>
                  <a:lnTo>
                    <a:pt x="581025" y="0"/>
                  </a:lnTo>
                  <a:lnTo>
                    <a:pt x="0" y="0"/>
                  </a:lnTo>
                  <a:close/>
                </a:path>
              </a:pathLst>
            </a:custGeom>
            <a:solidFill>
              <a:srgbClr val="50E6F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F9EA930-079A-455D-B7E4-6C53086A1DBD}"/>
                </a:ext>
              </a:extLst>
            </p:cNvPr>
            <p:cNvSpPr/>
            <p:nvPr/>
          </p:nvSpPr>
          <p:spPr>
            <a:xfrm>
              <a:off x="9093655" y="2714341"/>
              <a:ext cx="95250" cy="95250"/>
            </a:xfrm>
            <a:custGeom>
              <a:avLst/>
              <a:gdLst>
                <a:gd name="connsiteX0" fmla="*/ 100965 w 95250"/>
                <a:gd name="connsiteY0" fmla="*/ 50483 h 95250"/>
                <a:gd name="connsiteX1" fmla="*/ 50483 w 95250"/>
                <a:gd name="connsiteY1" fmla="*/ 100965 h 95250"/>
                <a:gd name="connsiteX2" fmla="*/ 0 w 95250"/>
                <a:gd name="connsiteY2" fmla="*/ 50483 h 95250"/>
                <a:gd name="connsiteX3" fmla="*/ 50483 w 95250"/>
                <a:gd name="connsiteY3" fmla="*/ 0 h 95250"/>
                <a:gd name="connsiteX4" fmla="*/ 100965 w 95250"/>
                <a:gd name="connsiteY4" fmla="*/ 5048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100965" y="50483"/>
                  </a:moveTo>
                  <a:cubicBezTo>
                    <a:pt x="100965" y="78363"/>
                    <a:pt x="78363" y="100965"/>
                    <a:pt x="50483" y="100965"/>
                  </a:cubicBezTo>
                  <a:cubicBezTo>
                    <a:pt x="22602" y="100965"/>
                    <a:pt x="0" y="78363"/>
                    <a:pt x="0" y="50483"/>
                  </a:cubicBezTo>
                  <a:cubicBezTo>
                    <a:pt x="0" y="22602"/>
                    <a:pt x="22602" y="0"/>
                    <a:pt x="50483" y="0"/>
                  </a:cubicBezTo>
                  <a:cubicBezTo>
                    <a:pt x="78363" y="0"/>
                    <a:pt x="100965" y="22602"/>
                    <a:pt x="100965" y="50483"/>
                  </a:cubicBezTo>
                  <a:close/>
                </a:path>
              </a:pathLst>
            </a:custGeom>
            <a:solidFill>
              <a:srgbClr val="E6E6E6"/>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aphic 56">
              <a:extLst>
                <a:ext uri="{FF2B5EF4-FFF2-40B4-BE49-F238E27FC236}">
                  <a16:creationId xmlns:a16="http://schemas.microsoft.com/office/drawing/2014/main" id="{7A39C90A-67A2-4AB6-9948-94F70D8AF6BC}"/>
                </a:ext>
              </a:extLst>
            </p:cNvPr>
            <p:cNvGrpSpPr/>
            <p:nvPr/>
          </p:nvGrpSpPr>
          <p:grpSpPr>
            <a:xfrm>
              <a:off x="9609909" y="2431448"/>
              <a:ext cx="209550" cy="329565"/>
              <a:chOff x="9609909" y="2431448"/>
              <a:chExt cx="209550" cy="329565"/>
            </a:xfrm>
            <a:solidFill>
              <a:srgbClr val="50E6FF"/>
            </a:solidFill>
          </p:grpSpPr>
          <p:sp>
            <p:nvSpPr>
              <p:cNvPr id="110" name="Freeform: Shape 109">
                <a:extLst>
                  <a:ext uri="{FF2B5EF4-FFF2-40B4-BE49-F238E27FC236}">
                    <a16:creationId xmlns:a16="http://schemas.microsoft.com/office/drawing/2014/main" id="{199049B4-8579-479E-96B5-00E79DBC5876}"/>
                  </a:ext>
                </a:extLst>
              </p:cNvPr>
              <p:cNvSpPr/>
              <p:nvPr/>
            </p:nvSpPr>
            <p:spPr>
              <a:xfrm>
                <a:off x="9665155" y="2713388"/>
                <a:ext cx="95250" cy="47625"/>
              </a:xfrm>
              <a:custGeom>
                <a:avLst/>
                <a:gdLst>
                  <a:gd name="connsiteX0" fmla="*/ 50482 w 95250"/>
                  <a:gd name="connsiteY0" fmla="*/ 0 h 47625"/>
                  <a:gd name="connsiteX1" fmla="*/ 0 w 95250"/>
                  <a:gd name="connsiteY1" fmla="*/ 47625 h 47625"/>
                  <a:gd name="connsiteX2" fmla="*/ 100965 w 95250"/>
                  <a:gd name="connsiteY2" fmla="*/ 47625 h 47625"/>
                  <a:gd name="connsiteX3" fmla="*/ 50482 w 95250"/>
                  <a:gd name="connsiteY3" fmla="*/ 0 h 47625"/>
                </a:gdLst>
                <a:ahLst/>
                <a:cxnLst>
                  <a:cxn ang="0">
                    <a:pos x="connsiteX0" y="connsiteY0"/>
                  </a:cxn>
                  <a:cxn ang="0">
                    <a:pos x="connsiteX1" y="connsiteY1"/>
                  </a:cxn>
                  <a:cxn ang="0">
                    <a:pos x="connsiteX2" y="connsiteY2"/>
                  </a:cxn>
                  <a:cxn ang="0">
                    <a:pos x="connsiteX3" y="connsiteY3"/>
                  </a:cxn>
                </a:cxnLst>
                <a:rect l="l" t="t" r="r" b="b"/>
                <a:pathLst>
                  <a:path w="95250" h="47625">
                    <a:moveTo>
                      <a:pt x="50482" y="0"/>
                    </a:moveTo>
                    <a:cubicBezTo>
                      <a:pt x="23813" y="0"/>
                      <a:pt x="1905" y="20955"/>
                      <a:pt x="0" y="47625"/>
                    </a:cubicBezTo>
                    <a:lnTo>
                      <a:pt x="100965" y="47625"/>
                    </a:lnTo>
                    <a:cubicBezTo>
                      <a:pt x="99060" y="20955"/>
                      <a:pt x="77152" y="0"/>
                      <a:pt x="50482" y="0"/>
                    </a:cubicBezTo>
                    <a:close/>
                  </a:path>
                </a:pathLst>
              </a:custGeom>
              <a:solidFill>
                <a:srgbClr val="8661C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8B3811A4-DD83-4D3E-84A6-D6020E402507}"/>
                  </a:ext>
                </a:extLst>
              </p:cNvPr>
              <p:cNvSpPr/>
              <p:nvPr/>
            </p:nvSpPr>
            <p:spPr>
              <a:xfrm>
                <a:off x="9609909" y="2431448"/>
                <a:ext cx="209550" cy="323850"/>
              </a:xfrm>
              <a:custGeom>
                <a:avLst/>
                <a:gdLst>
                  <a:gd name="connsiteX0" fmla="*/ 213360 w 209550"/>
                  <a:gd name="connsiteY0" fmla="*/ 172403 h 323850"/>
                  <a:gd name="connsiteX1" fmla="*/ 40958 w 209550"/>
                  <a:gd name="connsiteY1" fmla="*/ 0 h 323850"/>
                  <a:gd name="connsiteX2" fmla="*/ 0 w 209550"/>
                  <a:gd name="connsiteY2" fmla="*/ 0 h 323850"/>
                  <a:gd name="connsiteX3" fmla="*/ 0 w 209550"/>
                  <a:gd name="connsiteY3" fmla="*/ 330518 h 323850"/>
                  <a:gd name="connsiteX4" fmla="*/ 35243 w 209550"/>
                  <a:gd name="connsiteY4" fmla="*/ 330518 h 323850"/>
                  <a:gd name="connsiteX5" fmla="*/ 104775 w 209550"/>
                  <a:gd name="connsiteY5" fmla="*/ 263843 h 323850"/>
                  <a:gd name="connsiteX6" fmla="*/ 174308 w 209550"/>
                  <a:gd name="connsiteY6" fmla="*/ 330518 h 323850"/>
                  <a:gd name="connsiteX7" fmla="*/ 212408 w 209550"/>
                  <a:gd name="connsiteY7" fmla="*/ 330518 h 323850"/>
                  <a:gd name="connsiteX8" fmla="*/ 212408 w 209550"/>
                  <a:gd name="connsiteY8" fmla="*/ 172403 h 323850"/>
                  <a:gd name="connsiteX9" fmla="*/ 159068 w 209550"/>
                  <a:gd name="connsiteY9" fmla="*/ 136208 h 323850"/>
                  <a:gd name="connsiteX10" fmla="*/ 71438 w 209550"/>
                  <a:gd name="connsiteY10" fmla="*/ 136208 h 323850"/>
                  <a:gd name="connsiteX11" fmla="*/ 71438 w 209550"/>
                  <a:gd name="connsiteY11" fmla="*/ 45720 h 323850"/>
                  <a:gd name="connsiteX12" fmla="*/ 159068 w 209550"/>
                  <a:gd name="connsiteY12" fmla="*/ 133350 h 323850"/>
                  <a:gd name="connsiteX13" fmla="*/ 159068 w 209550"/>
                  <a:gd name="connsiteY13" fmla="*/ 13620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50" h="323850">
                    <a:moveTo>
                      <a:pt x="213360" y="172403"/>
                    </a:moveTo>
                    <a:cubicBezTo>
                      <a:pt x="213360" y="77152"/>
                      <a:pt x="136208" y="0"/>
                      <a:pt x="40958" y="0"/>
                    </a:cubicBezTo>
                    <a:lnTo>
                      <a:pt x="0" y="0"/>
                    </a:lnTo>
                    <a:lnTo>
                      <a:pt x="0" y="330518"/>
                    </a:lnTo>
                    <a:lnTo>
                      <a:pt x="35243" y="330518"/>
                    </a:lnTo>
                    <a:cubicBezTo>
                      <a:pt x="37148" y="293370"/>
                      <a:pt x="67627" y="263843"/>
                      <a:pt x="104775" y="263843"/>
                    </a:cubicBezTo>
                    <a:cubicBezTo>
                      <a:pt x="141923" y="263843"/>
                      <a:pt x="172402" y="293370"/>
                      <a:pt x="174308" y="330518"/>
                    </a:cubicBezTo>
                    <a:lnTo>
                      <a:pt x="212408" y="330518"/>
                    </a:lnTo>
                    <a:lnTo>
                      <a:pt x="212408" y="172403"/>
                    </a:lnTo>
                    <a:close/>
                    <a:moveTo>
                      <a:pt x="159068" y="136208"/>
                    </a:moveTo>
                    <a:lnTo>
                      <a:pt x="71438" y="136208"/>
                    </a:lnTo>
                    <a:lnTo>
                      <a:pt x="71438" y="45720"/>
                    </a:lnTo>
                    <a:cubicBezTo>
                      <a:pt x="120015" y="45720"/>
                      <a:pt x="159068" y="84773"/>
                      <a:pt x="159068" y="133350"/>
                    </a:cubicBezTo>
                    <a:lnTo>
                      <a:pt x="159068" y="136208"/>
                    </a:lnTo>
                    <a:close/>
                  </a:path>
                </a:pathLst>
              </a:custGeom>
              <a:solidFill>
                <a:srgbClr val="0078D4"/>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09" name="Freeform: Shape 108">
              <a:extLst>
                <a:ext uri="{FF2B5EF4-FFF2-40B4-BE49-F238E27FC236}">
                  <a16:creationId xmlns:a16="http://schemas.microsoft.com/office/drawing/2014/main" id="{588917CF-1B19-4CB1-A1EB-A793CE0C2E20}"/>
                </a:ext>
              </a:extLst>
            </p:cNvPr>
            <p:cNvSpPr/>
            <p:nvPr/>
          </p:nvSpPr>
          <p:spPr>
            <a:xfrm>
              <a:off x="9665155" y="2714341"/>
              <a:ext cx="95250" cy="95250"/>
            </a:xfrm>
            <a:custGeom>
              <a:avLst/>
              <a:gdLst>
                <a:gd name="connsiteX0" fmla="*/ 100965 w 95250"/>
                <a:gd name="connsiteY0" fmla="*/ 50483 h 95250"/>
                <a:gd name="connsiteX1" fmla="*/ 50482 w 95250"/>
                <a:gd name="connsiteY1" fmla="*/ 100965 h 95250"/>
                <a:gd name="connsiteX2" fmla="*/ 0 w 95250"/>
                <a:gd name="connsiteY2" fmla="*/ 50483 h 95250"/>
                <a:gd name="connsiteX3" fmla="*/ 50482 w 95250"/>
                <a:gd name="connsiteY3" fmla="*/ 0 h 95250"/>
                <a:gd name="connsiteX4" fmla="*/ 100965 w 95250"/>
                <a:gd name="connsiteY4" fmla="*/ 5048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100965" y="50483"/>
                  </a:moveTo>
                  <a:cubicBezTo>
                    <a:pt x="100965" y="78363"/>
                    <a:pt x="78363" y="100965"/>
                    <a:pt x="50482" y="100965"/>
                  </a:cubicBezTo>
                  <a:cubicBezTo>
                    <a:pt x="22602" y="100965"/>
                    <a:pt x="0" y="78363"/>
                    <a:pt x="0" y="50483"/>
                  </a:cubicBezTo>
                  <a:cubicBezTo>
                    <a:pt x="0" y="22602"/>
                    <a:pt x="22602" y="0"/>
                    <a:pt x="50482" y="0"/>
                  </a:cubicBezTo>
                  <a:cubicBezTo>
                    <a:pt x="78363" y="0"/>
                    <a:pt x="100965" y="22602"/>
                    <a:pt x="100965" y="50483"/>
                  </a:cubicBezTo>
                  <a:close/>
                </a:path>
              </a:pathLst>
            </a:custGeom>
            <a:solidFill>
              <a:srgbClr val="E6E6E6"/>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12" name="Rectangle 111">
            <a:extLst>
              <a:ext uri="{FF2B5EF4-FFF2-40B4-BE49-F238E27FC236}">
                <a16:creationId xmlns:a16="http://schemas.microsoft.com/office/drawing/2014/main" id="{6BC89A58-9732-45BA-BDB4-2203DB347971}"/>
              </a:ext>
            </a:extLst>
          </p:cNvPr>
          <p:cNvSpPr/>
          <p:nvPr/>
        </p:nvSpPr>
        <p:spPr bwMode="auto">
          <a:xfrm>
            <a:off x="9105640" y="2365131"/>
            <a:ext cx="1747800" cy="793908"/>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none" lIns="91427"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Dynamics Connected </a:t>
            </a:r>
          </a:p>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Field Service </a:t>
            </a:r>
          </a:p>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SaaS)</a:t>
            </a:r>
          </a:p>
        </p:txBody>
      </p:sp>
      <p:sp>
        <p:nvSpPr>
          <p:cNvPr id="113" name="TextBox 112">
            <a:extLst>
              <a:ext uri="{FF2B5EF4-FFF2-40B4-BE49-F238E27FC236}">
                <a16:creationId xmlns:a16="http://schemas.microsoft.com/office/drawing/2014/main" id="{E94A849D-A5AD-46E7-9E30-811889D9F547}"/>
              </a:ext>
            </a:extLst>
          </p:cNvPr>
          <p:cNvSpPr txBox="1"/>
          <p:nvPr/>
        </p:nvSpPr>
        <p:spPr>
          <a:xfrm>
            <a:off x="505829" y="1067517"/>
            <a:ext cx="1569403" cy="261610"/>
          </a:xfrm>
          <a:prstGeom prst="rect">
            <a:avLst/>
          </a:prstGeom>
        </p:spPr>
        <p:txBody>
          <a:bodyPr wrap="square" anchor="t">
            <a:spAutoFit/>
          </a:bodyPr>
          <a:lstStyle>
            <a:defPPr>
              <a:defRPr lang="en-US"/>
            </a:defPPr>
            <a:lvl1pPr algn="ctr" defTabSz="672273" fontAlgn="base">
              <a:spcAft>
                <a:spcPts val="600"/>
              </a:spcAft>
              <a:defRPr sz="1800">
                <a:gradFill>
                  <a:gsLst>
                    <a:gs pos="0">
                      <a:srgbClr val="50E6FF"/>
                    </a:gs>
                    <a:gs pos="100000">
                      <a:srgbClr val="50E6FF"/>
                    </a:gs>
                  </a:gsLst>
                  <a:lin ang="5400000" scaled="0"/>
                </a:gradFill>
                <a:latin typeface="Segoe UI Semibold"/>
                <a:cs typeface="Segoe UI"/>
              </a:defRPr>
            </a:lvl1pPr>
          </a:lstStyle>
          <a:p>
            <a:pPr marL="0" marR="0" lvl="0" indent="0" algn="l" defTabSz="672273" rtl="0" eaLnBrk="1" fontAlgn="base"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50E6FF"/>
                </a:solidFill>
                <a:effectLst/>
                <a:uLnTx/>
                <a:uFillTx/>
                <a:latin typeface="Segoe UI Semibold"/>
                <a:ea typeface="+mn-ea"/>
                <a:cs typeface="Segoe UI"/>
                <a:sym typeface="Wingdings" pitchFamily="2" charset="2"/>
              </a:rPr>
              <a:t></a:t>
            </a:r>
            <a:r>
              <a:rPr kumimoji="0" lang="en-US" sz="1100" b="0" i="0" u="none" strike="noStrike" kern="0" cap="none" spc="0" normalizeH="0" baseline="0" noProof="0">
                <a:ln>
                  <a:noFill/>
                </a:ln>
                <a:solidFill>
                  <a:srgbClr val="50E6FF"/>
                </a:solidFill>
                <a:effectLst/>
                <a:uLnTx/>
                <a:uFillTx/>
                <a:latin typeface="Segoe UI Semibold"/>
                <a:ea typeface="+mn-ea"/>
                <a:cs typeface="Segoe UI"/>
                <a:sym typeface="Wingdings" pitchFamily="2" charset="2"/>
              </a:rPr>
              <a:t> </a:t>
            </a:r>
            <a:r>
              <a:rPr kumimoji="0" lang="en-US" sz="1100" b="0" i="0" u="none" strike="noStrike" kern="0" cap="none" spc="0" normalizeH="0" baseline="0" noProof="0">
                <a:ln>
                  <a:noFill/>
                </a:ln>
                <a:solidFill>
                  <a:srgbClr val="50E6FF"/>
                </a:solidFill>
                <a:effectLst/>
                <a:uLnTx/>
                <a:uFillTx/>
                <a:latin typeface="Segoe UI Semibold"/>
                <a:ea typeface="+mn-ea"/>
                <a:cs typeface="Segoe UI"/>
              </a:rPr>
              <a:t>aka.ms/mslearniot</a:t>
            </a:r>
          </a:p>
        </p:txBody>
      </p:sp>
      <p:pic>
        <p:nvPicPr>
          <p:cNvPr id="114" name="Graphic 113">
            <a:extLst>
              <a:ext uri="{FF2B5EF4-FFF2-40B4-BE49-F238E27FC236}">
                <a16:creationId xmlns:a16="http://schemas.microsoft.com/office/drawing/2014/main" id="{74B1A5E3-E4F7-4845-B3C7-0F5597E6C05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56380" y="1219968"/>
            <a:ext cx="449533" cy="449533"/>
          </a:xfrm>
          <a:prstGeom prst="rect">
            <a:avLst/>
          </a:prstGeom>
        </p:spPr>
      </p:pic>
      <p:pic>
        <p:nvPicPr>
          <p:cNvPr id="115" name="Graphic 114">
            <a:extLst>
              <a:ext uri="{FF2B5EF4-FFF2-40B4-BE49-F238E27FC236}">
                <a16:creationId xmlns:a16="http://schemas.microsoft.com/office/drawing/2014/main" id="{FEE99A39-3306-4F79-928C-20DE54EB568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02459" y="1141553"/>
            <a:ext cx="606362" cy="606362"/>
          </a:xfrm>
          <a:prstGeom prst="rect">
            <a:avLst/>
          </a:prstGeom>
        </p:spPr>
      </p:pic>
      <p:graphicFrame>
        <p:nvGraphicFramePr>
          <p:cNvPr id="116" name="Table 35">
            <a:extLst>
              <a:ext uri="{FF2B5EF4-FFF2-40B4-BE49-F238E27FC236}">
                <a16:creationId xmlns:a16="http://schemas.microsoft.com/office/drawing/2014/main" id="{EE5236DF-4154-493E-83C8-11A9A858E981}"/>
              </a:ext>
            </a:extLst>
          </p:cNvPr>
          <p:cNvGraphicFramePr>
            <a:graphicFrameLocks noGrp="1"/>
          </p:cNvGraphicFramePr>
          <p:nvPr/>
        </p:nvGraphicFramePr>
        <p:xfrm>
          <a:off x="4011062" y="1727541"/>
          <a:ext cx="7960253" cy="251460"/>
        </p:xfrm>
        <a:graphic>
          <a:graphicData uri="http://schemas.openxmlformats.org/drawingml/2006/table">
            <a:tbl>
              <a:tblPr firstRow="1" bandRow="1"/>
              <a:tblGrid>
                <a:gridCol w="1137179">
                  <a:extLst>
                    <a:ext uri="{9D8B030D-6E8A-4147-A177-3AD203B41FA5}">
                      <a16:colId xmlns:a16="http://schemas.microsoft.com/office/drawing/2014/main" val="1027986040"/>
                    </a:ext>
                  </a:extLst>
                </a:gridCol>
                <a:gridCol w="1137179">
                  <a:extLst>
                    <a:ext uri="{9D8B030D-6E8A-4147-A177-3AD203B41FA5}">
                      <a16:colId xmlns:a16="http://schemas.microsoft.com/office/drawing/2014/main" val="2943327607"/>
                    </a:ext>
                  </a:extLst>
                </a:gridCol>
                <a:gridCol w="1137179">
                  <a:extLst>
                    <a:ext uri="{9D8B030D-6E8A-4147-A177-3AD203B41FA5}">
                      <a16:colId xmlns:a16="http://schemas.microsoft.com/office/drawing/2014/main" val="901295776"/>
                    </a:ext>
                  </a:extLst>
                </a:gridCol>
                <a:gridCol w="1137179">
                  <a:extLst>
                    <a:ext uri="{9D8B030D-6E8A-4147-A177-3AD203B41FA5}">
                      <a16:colId xmlns:a16="http://schemas.microsoft.com/office/drawing/2014/main" val="1973930467"/>
                    </a:ext>
                  </a:extLst>
                </a:gridCol>
                <a:gridCol w="1137179">
                  <a:extLst>
                    <a:ext uri="{9D8B030D-6E8A-4147-A177-3AD203B41FA5}">
                      <a16:colId xmlns:a16="http://schemas.microsoft.com/office/drawing/2014/main" val="90731298"/>
                    </a:ext>
                  </a:extLst>
                </a:gridCol>
                <a:gridCol w="1137179">
                  <a:extLst>
                    <a:ext uri="{9D8B030D-6E8A-4147-A177-3AD203B41FA5}">
                      <a16:colId xmlns:a16="http://schemas.microsoft.com/office/drawing/2014/main" val="3558819566"/>
                    </a:ext>
                  </a:extLst>
                </a:gridCol>
                <a:gridCol w="1137179">
                  <a:extLst>
                    <a:ext uri="{9D8B030D-6E8A-4147-A177-3AD203B41FA5}">
                      <a16:colId xmlns:a16="http://schemas.microsoft.com/office/drawing/2014/main" val="1844448066"/>
                    </a:ext>
                  </a:extLst>
                </a:gridCol>
              </a:tblGrid>
              <a:tr h="161553">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Manufacturing</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Reta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Agricul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Ener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Smart C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Healthc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Transportation</a:t>
                      </a:r>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7486030"/>
                  </a:ext>
                </a:extLst>
              </a:tr>
            </a:tbl>
          </a:graphicData>
        </a:graphic>
      </p:graphicFrame>
      <p:cxnSp>
        <p:nvCxnSpPr>
          <p:cNvPr id="117" name="Straight Connector 116">
            <a:extLst>
              <a:ext uri="{FF2B5EF4-FFF2-40B4-BE49-F238E27FC236}">
                <a16:creationId xmlns:a16="http://schemas.microsoft.com/office/drawing/2014/main" id="{50DFE722-EEFB-4639-A07A-54B5B090F163}"/>
              </a:ext>
              <a:ext uri="{C183D7F6-B498-43B3-948B-1728B52AA6E4}">
                <adec:decorative xmlns:adec="http://schemas.microsoft.com/office/drawing/2017/decorative" val="1"/>
              </a:ext>
            </a:extLst>
          </p:cNvPr>
          <p:cNvCxnSpPr>
            <a:cxnSpLocks/>
          </p:cNvCxnSpPr>
          <p:nvPr/>
        </p:nvCxnSpPr>
        <p:spPr>
          <a:xfrm>
            <a:off x="1995754" y="3297337"/>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cxnSp>
        <p:nvCxnSpPr>
          <p:cNvPr id="118" name="Straight Connector 117">
            <a:extLst>
              <a:ext uri="{FF2B5EF4-FFF2-40B4-BE49-F238E27FC236}">
                <a16:creationId xmlns:a16="http://schemas.microsoft.com/office/drawing/2014/main" id="{A5CB988C-C800-43A7-81C2-4562A76F22A8}"/>
              </a:ext>
              <a:ext uri="{C183D7F6-B498-43B3-948B-1728B52AA6E4}">
                <adec:decorative xmlns:adec="http://schemas.microsoft.com/office/drawing/2017/decorative" val="1"/>
              </a:ext>
            </a:extLst>
          </p:cNvPr>
          <p:cNvCxnSpPr>
            <a:cxnSpLocks/>
          </p:cNvCxnSpPr>
          <p:nvPr/>
        </p:nvCxnSpPr>
        <p:spPr>
          <a:xfrm>
            <a:off x="1995754" y="4998816"/>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sp>
        <p:nvSpPr>
          <p:cNvPr id="119" name="Rectangle 118">
            <a:extLst>
              <a:ext uri="{FF2B5EF4-FFF2-40B4-BE49-F238E27FC236}">
                <a16:creationId xmlns:a16="http://schemas.microsoft.com/office/drawing/2014/main" id="{16102FF4-4A16-4CC4-9E01-D573EEC0EE94}"/>
              </a:ext>
            </a:extLst>
          </p:cNvPr>
          <p:cNvSpPr/>
          <p:nvPr/>
        </p:nvSpPr>
        <p:spPr bwMode="auto">
          <a:xfrm>
            <a:off x="505829" y="3882396"/>
            <a:ext cx="1511015" cy="9435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a:ea typeface="+mn-ea"/>
                <a:cs typeface="Segoe UI" pitchFamily="34" charset="0"/>
              </a:rPr>
              <a:t>Azure Defender</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a:ea typeface="+mn-ea"/>
                <a:cs typeface="Segoe UI" pitchFamily="34" charset="0"/>
              </a:rPr>
              <a:t>for IoT</a:t>
            </a:r>
          </a:p>
        </p:txBody>
      </p:sp>
      <p:grpSp>
        <p:nvGrpSpPr>
          <p:cNvPr id="120" name="Graphic 124" descr="Security Center">
            <a:extLst>
              <a:ext uri="{FF2B5EF4-FFF2-40B4-BE49-F238E27FC236}">
                <a16:creationId xmlns:a16="http://schemas.microsoft.com/office/drawing/2014/main" id="{5F7DAE66-4906-4E77-A585-FFFF3B3D2FDB}"/>
              </a:ext>
            </a:extLst>
          </p:cNvPr>
          <p:cNvGrpSpPr/>
          <p:nvPr/>
        </p:nvGrpSpPr>
        <p:grpSpPr>
          <a:xfrm>
            <a:off x="663185" y="2808161"/>
            <a:ext cx="621869" cy="862590"/>
            <a:chOff x="622363" y="4092006"/>
            <a:chExt cx="289470" cy="401523"/>
          </a:xfrm>
        </p:grpSpPr>
        <p:sp>
          <p:nvSpPr>
            <p:cNvPr id="121" name="Freeform: Shape 5">
              <a:extLst>
                <a:ext uri="{FF2B5EF4-FFF2-40B4-BE49-F238E27FC236}">
                  <a16:creationId xmlns:a16="http://schemas.microsoft.com/office/drawing/2014/main" id="{C954D4CD-5BCA-404F-86B2-C365D19A818B}"/>
                </a:ext>
              </a:extLst>
            </p:cNvPr>
            <p:cNvSpPr/>
            <p:nvPr/>
          </p:nvSpPr>
          <p:spPr>
            <a:xfrm>
              <a:off x="622363" y="4092006"/>
              <a:ext cx="289470" cy="401523"/>
            </a:xfrm>
            <a:custGeom>
              <a:avLst/>
              <a:gdLst>
                <a:gd name="connsiteX0" fmla="*/ 253230 w 289470"/>
                <a:gd name="connsiteY0" fmla="*/ 48067 h 401523"/>
                <a:gd name="connsiteX1" fmla="*/ 148811 w 289470"/>
                <a:gd name="connsiteY1" fmla="*/ 0 h 401523"/>
                <a:gd name="connsiteX2" fmla="*/ 0 w 289470"/>
                <a:gd name="connsiteY2" fmla="*/ 50341 h 401523"/>
                <a:gd name="connsiteX3" fmla="*/ 0 w 289470"/>
                <a:gd name="connsiteY3" fmla="*/ 256892 h 401523"/>
                <a:gd name="connsiteX4" fmla="*/ 33326 w 289470"/>
                <a:gd name="connsiteY4" fmla="*/ 325703 h 401523"/>
                <a:gd name="connsiteX5" fmla="*/ 148820 w 289470"/>
                <a:gd name="connsiteY5" fmla="*/ 403255 h 401523"/>
                <a:gd name="connsiteX6" fmla="*/ 297639 w 289470"/>
                <a:gd name="connsiteY6" fmla="*/ 256885 h 401523"/>
                <a:gd name="connsiteX7" fmla="*/ 297639 w 289470"/>
                <a:gd name="connsiteY7" fmla="*/ 50341 h 401523"/>
                <a:gd name="connsiteX8" fmla="*/ 253230 w 289470"/>
                <a:gd name="connsiteY8" fmla="*/ 48067 h 40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470" h="401523">
                  <a:moveTo>
                    <a:pt x="253230" y="48067"/>
                  </a:moveTo>
                  <a:cubicBezTo>
                    <a:pt x="163777" y="38268"/>
                    <a:pt x="148811" y="0"/>
                    <a:pt x="148811" y="0"/>
                  </a:cubicBezTo>
                  <a:cubicBezTo>
                    <a:pt x="148811" y="0"/>
                    <a:pt x="128681" y="50341"/>
                    <a:pt x="0" y="50341"/>
                  </a:cubicBezTo>
                  <a:lnTo>
                    <a:pt x="0" y="256892"/>
                  </a:lnTo>
                  <a:cubicBezTo>
                    <a:pt x="0" y="281870"/>
                    <a:pt x="13975" y="305258"/>
                    <a:pt x="33326" y="325703"/>
                  </a:cubicBezTo>
                  <a:cubicBezTo>
                    <a:pt x="77191" y="372061"/>
                    <a:pt x="148820" y="403255"/>
                    <a:pt x="148820" y="403255"/>
                  </a:cubicBezTo>
                  <a:cubicBezTo>
                    <a:pt x="148820" y="403255"/>
                    <a:pt x="297639" y="338502"/>
                    <a:pt x="297639" y="256885"/>
                  </a:cubicBezTo>
                  <a:lnTo>
                    <a:pt x="297639" y="50341"/>
                  </a:lnTo>
                  <a:cubicBezTo>
                    <a:pt x="281090" y="50341"/>
                    <a:pt x="266368" y="49511"/>
                    <a:pt x="253230" y="48067"/>
                  </a:cubicBezTo>
                  <a:close/>
                </a:path>
              </a:pathLst>
            </a:custGeom>
            <a:solidFill>
              <a:srgbClr val="50E6FF"/>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sp>
          <p:nvSpPr>
            <p:cNvPr id="122" name="Freeform: Shape 6">
              <a:extLst>
                <a:ext uri="{FF2B5EF4-FFF2-40B4-BE49-F238E27FC236}">
                  <a16:creationId xmlns:a16="http://schemas.microsoft.com/office/drawing/2014/main" id="{67F92AEF-8CC6-47D1-8357-4E86B89630AB}"/>
                </a:ext>
              </a:extLst>
            </p:cNvPr>
            <p:cNvSpPr/>
            <p:nvPr/>
          </p:nvSpPr>
          <p:spPr>
            <a:xfrm>
              <a:off x="622363" y="4092006"/>
              <a:ext cx="252119" cy="317484"/>
            </a:xfrm>
            <a:custGeom>
              <a:avLst/>
              <a:gdLst>
                <a:gd name="connsiteX0" fmla="*/ 185628 w 252119"/>
                <a:gd name="connsiteY0" fmla="*/ 133418 h 317483"/>
                <a:gd name="connsiteX1" fmla="*/ 253230 w 252119"/>
                <a:gd name="connsiteY1" fmla="*/ 48067 h 317483"/>
                <a:gd name="connsiteX2" fmla="*/ 148811 w 252119"/>
                <a:gd name="connsiteY2" fmla="*/ 0 h 317483"/>
                <a:gd name="connsiteX3" fmla="*/ 0 w 252119"/>
                <a:gd name="connsiteY3" fmla="*/ 50341 h 317483"/>
                <a:gd name="connsiteX4" fmla="*/ 0 w 252119"/>
                <a:gd name="connsiteY4" fmla="*/ 256892 h 317483"/>
                <a:gd name="connsiteX5" fmla="*/ 33326 w 252119"/>
                <a:gd name="connsiteY5" fmla="*/ 325703 h 317483"/>
                <a:gd name="connsiteX6" fmla="*/ 83298 w 252119"/>
                <a:gd name="connsiteY6" fmla="*/ 262619 h 317483"/>
                <a:gd name="connsiteX7" fmla="*/ 185628 w 252119"/>
                <a:gd name="connsiteY7" fmla="*/ 133418 h 3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119" h="317483">
                  <a:moveTo>
                    <a:pt x="185628" y="133418"/>
                  </a:moveTo>
                  <a:lnTo>
                    <a:pt x="253230" y="48067"/>
                  </a:lnTo>
                  <a:cubicBezTo>
                    <a:pt x="163777" y="38268"/>
                    <a:pt x="148811" y="0"/>
                    <a:pt x="148811" y="0"/>
                  </a:cubicBezTo>
                  <a:cubicBezTo>
                    <a:pt x="148811" y="0"/>
                    <a:pt x="128681" y="50341"/>
                    <a:pt x="0" y="50341"/>
                  </a:cubicBezTo>
                  <a:lnTo>
                    <a:pt x="0" y="256892"/>
                  </a:lnTo>
                  <a:cubicBezTo>
                    <a:pt x="0" y="281870"/>
                    <a:pt x="13975" y="305258"/>
                    <a:pt x="33326" y="325703"/>
                  </a:cubicBezTo>
                  <a:lnTo>
                    <a:pt x="83298" y="262619"/>
                  </a:lnTo>
                  <a:lnTo>
                    <a:pt x="185628" y="133418"/>
                  </a:lnTo>
                  <a:close/>
                </a:path>
              </a:pathLst>
            </a:custGeom>
            <a:solidFill>
              <a:srgbClr val="0078D4"/>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sp>
          <p:nvSpPr>
            <p:cNvPr id="124" name="Freeform: Shape 7">
              <a:extLst>
                <a:ext uri="{FF2B5EF4-FFF2-40B4-BE49-F238E27FC236}">
                  <a16:creationId xmlns:a16="http://schemas.microsoft.com/office/drawing/2014/main" id="{6C243A44-0707-441B-8B09-1C3239816868}"/>
                </a:ext>
              </a:extLst>
            </p:cNvPr>
            <p:cNvSpPr/>
            <p:nvPr/>
          </p:nvSpPr>
          <p:spPr>
            <a:xfrm>
              <a:off x="705673" y="4207961"/>
              <a:ext cx="130729" cy="168080"/>
            </a:xfrm>
            <a:custGeom>
              <a:avLst/>
              <a:gdLst>
                <a:gd name="connsiteX0" fmla="*/ 91970 w 130728"/>
                <a:gd name="connsiteY0" fmla="*/ 81319 h 168079"/>
                <a:gd name="connsiteX1" fmla="*/ 51206 w 130728"/>
                <a:gd name="connsiteY1" fmla="*/ 81319 h 168079"/>
                <a:gd name="connsiteX2" fmla="*/ 51215 w 130728"/>
                <a:gd name="connsiteY2" fmla="*/ 81311 h 168079"/>
                <a:gd name="connsiteX3" fmla="*/ 39075 w 130728"/>
                <a:gd name="connsiteY3" fmla="*/ 81311 h 168079"/>
                <a:gd name="connsiteX4" fmla="*/ 39075 w 130728"/>
                <a:gd name="connsiteY4" fmla="*/ 52664 h 168079"/>
                <a:gd name="connsiteX5" fmla="*/ 47098 w 130728"/>
                <a:gd name="connsiteY5" fmla="*/ 31937 h 168079"/>
                <a:gd name="connsiteX6" fmla="*/ 65515 w 130728"/>
                <a:gd name="connsiteY6" fmla="*/ 23767 h 168079"/>
                <a:gd name="connsiteX7" fmla="*/ 83947 w 130728"/>
                <a:gd name="connsiteY7" fmla="*/ 31937 h 168079"/>
                <a:gd name="connsiteX8" fmla="*/ 87106 w 130728"/>
                <a:gd name="connsiteY8" fmla="*/ 36002 h 168079"/>
                <a:gd name="connsiteX9" fmla="*/ 87098 w 130728"/>
                <a:gd name="connsiteY9" fmla="*/ 36010 h 168079"/>
                <a:gd name="connsiteX10" fmla="*/ 91970 w 130728"/>
                <a:gd name="connsiteY10" fmla="*/ 52657 h 168079"/>
                <a:gd name="connsiteX11" fmla="*/ 91970 w 130728"/>
                <a:gd name="connsiteY11" fmla="*/ 81319 h 168079"/>
                <a:gd name="connsiteX12" fmla="*/ 124540 w 130728"/>
                <a:gd name="connsiteY12" fmla="*/ 81311 h 168079"/>
                <a:gd name="connsiteX13" fmla="*/ 115884 w 130728"/>
                <a:gd name="connsiteY13" fmla="*/ 81311 h 168079"/>
                <a:gd name="connsiteX14" fmla="*/ 115884 w 130728"/>
                <a:gd name="connsiteY14" fmla="*/ 52664 h 168079"/>
                <a:gd name="connsiteX15" fmla="*/ 102332 w 130728"/>
                <a:gd name="connsiteY15" fmla="*/ 16775 h 168079"/>
                <a:gd name="connsiteX16" fmla="*/ 101422 w 130728"/>
                <a:gd name="connsiteY16" fmla="*/ 15702 h 168079"/>
                <a:gd name="connsiteX17" fmla="*/ 65515 w 130728"/>
                <a:gd name="connsiteY17" fmla="*/ 0 h 168079"/>
                <a:gd name="connsiteX18" fmla="*/ 29631 w 130728"/>
                <a:gd name="connsiteY18" fmla="*/ 15702 h 168079"/>
                <a:gd name="connsiteX19" fmla="*/ 15152 w 130728"/>
                <a:gd name="connsiteY19" fmla="*/ 52657 h 168079"/>
                <a:gd name="connsiteX20" fmla="*/ 15152 w 130728"/>
                <a:gd name="connsiteY20" fmla="*/ 81311 h 168079"/>
                <a:gd name="connsiteX21" fmla="*/ 6505 w 130728"/>
                <a:gd name="connsiteY21" fmla="*/ 81311 h 168079"/>
                <a:gd name="connsiteX22" fmla="*/ 0 w 130728"/>
                <a:gd name="connsiteY22" fmla="*/ 87771 h 168079"/>
                <a:gd name="connsiteX23" fmla="*/ 0 w 130728"/>
                <a:gd name="connsiteY23" fmla="*/ 145975 h 168079"/>
                <a:gd name="connsiteX24" fmla="*/ 0 w 130728"/>
                <a:gd name="connsiteY24" fmla="*/ 145984 h 168079"/>
                <a:gd name="connsiteX25" fmla="*/ 0 w 130728"/>
                <a:gd name="connsiteY25" fmla="*/ 163517 h 168079"/>
                <a:gd name="connsiteX26" fmla="*/ 6505 w 130728"/>
                <a:gd name="connsiteY26" fmla="*/ 169977 h 168079"/>
                <a:gd name="connsiteX27" fmla="*/ 124540 w 130728"/>
                <a:gd name="connsiteY27" fmla="*/ 169977 h 168079"/>
                <a:gd name="connsiteX28" fmla="*/ 131045 w 130728"/>
                <a:gd name="connsiteY28" fmla="*/ 163517 h 168079"/>
                <a:gd name="connsiteX29" fmla="*/ 131045 w 130728"/>
                <a:gd name="connsiteY29" fmla="*/ 87779 h 168079"/>
                <a:gd name="connsiteX30" fmla="*/ 124540 w 130728"/>
                <a:gd name="connsiteY30" fmla="*/ 81311 h 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0728" h="168079">
                  <a:moveTo>
                    <a:pt x="91970" y="81319"/>
                  </a:moveTo>
                  <a:lnTo>
                    <a:pt x="51206" y="81319"/>
                  </a:lnTo>
                  <a:lnTo>
                    <a:pt x="51215" y="81311"/>
                  </a:lnTo>
                  <a:lnTo>
                    <a:pt x="39075" y="81311"/>
                  </a:lnTo>
                  <a:lnTo>
                    <a:pt x="39075" y="52664"/>
                  </a:lnTo>
                  <a:cubicBezTo>
                    <a:pt x="39075" y="44422"/>
                    <a:pt x="42209" y="37123"/>
                    <a:pt x="47098" y="31937"/>
                  </a:cubicBezTo>
                  <a:cubicBezTo>
                    <a:pt x="52010" y="26752"/>
                    <a:pt x="58425" y="23767"/>
                    <a:pt x="65515" y="23767"/>
                  </a:cubicBezTo>
                  <a:cubicBezTo>
                    <a:pt x="72611" y="23767"/>
                    <a:pt x="79035" y="26752"/>
                    <a:pt x="83947" y="31937"/>
                  </a:cubicBezTo>
                  <a:cubicBezTo>
                    <a:pt x="85109" y="33171"/>
                    <a:pt x="86148" y="34542"/>
                    <a:pt x="87106" y="36002"/>
                  </a:cubicBezTo>
                  <a:lnTo>
                    <a:pt x="87098" y="36010"/>
                  </a:lnTo>
                  <a:cubicBezTo>
                    <a:pt x="90127" y="40680"/>
                    <a:pt x="91970" y="46397"/>
                    <a:pt x="91970" y="52657"/>
                  </a:cubicBezTo>
                  <a:lnTo>
                    <a:pt x="91970" y="81319"/>
                  </a:lnTo>
                  <a:close/>
                  <a:moveTo>
                    <a:pt x="124540" y="81311"/>
                  </a:moveTo>
                  <a:lnTo>
                    <a:pt x="115884" y="81311"/>
                  </a:lnTo>
                  <a:lnTo>
                    <a:pt x="115884" y="52664"/>
                  </a:lnTo>
                  <a:cubicBezTo>
                    <a:pt x="115884" y="38882"/>
                    <a:pt x="110777" y="26244"/>
                    <a:pt x="102332" y="16775"/>
                  </a:cubicBezTo>
                  <a:cubicBezTo>
                    <a:pt x="102015" y="16428"/>
                    <a:pt x="101731" y="16050"/>
                    <a:pt x="101422" y="15702"/>
                  </a:cubicBezTo>
                  <a:cubicBezTo>
                    <a:pt x="92433" y="6138"/>
                    <a:pt x="79635" y="-8"/>
                    <a:pt x="65515" y="0"/>
                  </a:cubicBezTo>
                  <a:cubicBezTo>
                    <a:pt x="51417" y="-8"/>
                    <a:pt x="38620" y="6138"/>
                    <a:pt x="29631" y="15702"/>
                  </a:cubicBezTo>
                  <a:cubicBezTo>
                    <a:pt x="20618" y="25275"/>
                    <a:pt x="15152" y="38374"/>
                    <a:pt x="15152" y="52657"/>
                  </a:cubicBezTo>
                  <a:lnTo>
                    <a:pt x="15152" y="81311"/>
                  </a:lnTo>
                  <a:lnTo>
                    <a:pt x="6505" y="81311"/>
                  </a:lnTo>
                  <a:cubicBezTo>
                    <a:pt x="2908" y="81311"/>
                    <a:pt x="0" y="84206"/>
                    <a:pt x="0" y="87771"/>
                  </a:cubicBezTo>
                  <a:lnTo>
                    <a:pt x="0" y="145975"/>
                  </a:lnTo>
                  <a:lnTo>
                    <a:pt x="0" y="145984"/>
                  </a:lnTo>
                  <a:lnTo>
                    <a:pt x="0" y="163517"/>
                  </a:lnTo>
                  <a:cubicBezTo>
                    <a:pt x="0" y="167081"/>
                    <a:pt x="2915" y="169977"/>
                    <a:pt x="6505" y="169977"/>
                  </a:cubicBezTo>
                  <a:lnTo>
                    <a:pt x="124540" y="169977"/>
                  </a:lnTo>
                  <a:cubicBezTo>
                    <a:pt x="128130" y="169977"/>
                    <a:pt x="131045" y="167081"/>
                    <a:pt x="131045" y="163517"/>
                  </a:cubicBezTo>
                  <a:lnTo>
                    <a:pt x="131045" y="87779"/>
                  </a:lnTo>
                  <a:cubicBezTo>
                    <a:pt x="131045" y="84199"/>
                    <a:pt x="128130" y="81311"/>
                    <a:pt x="124540" y="81311"/>
                  </a:cubicBezTo>
                  <a:close/>
                </a:path>
              </a:pathLst>
            </a:custGeom>
            <a:solidFill>
              <a:srgbClr val="FFFFFF"/>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grpSp>
      <p:pic>
        <p:nvPicPr>
          <p:cNvPr id="125" name="Graphic 124">
            <a:extLst>
              <a:ext uri="{FF2B5EF4-FFF2-40B4-BE49-F238E27FC236}">
                <a16:creationId xmlns:a16="http://schemas.microsoft.com/office/drawing/2014/main" id="{1D7D2FB5-DFB4-4555-8191-AFB0C1CF6E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2674" y="1212144"/>
            <a:ext cx="449533" cy="449533"/>
          </a:xfrm>
          <a:prstGeom prst="rect">
            <a:avLst/>
          </a:prstGeom>
        </p:spPr>
      </p:pic>
      <p:pic>
        <p:nvPicPr>
          <p:cNvPr id="126" name="Graphic 125">
            <a:extLst>
              <a:ext uri="{FF2B5EF4-FFF2-40B4-BE49-F238E27FC236}">
                <a16:creationId xmlns:a16="http://schemas.microsoft.com/office/drawing/2014/main" id="{7DC96065-CEA6-4276-8D52-6624161EAC7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10937" y="1223578"/>
            <a:ext cx="241300" cy="457200"/>
          </a:xfrm>
          <a:prstGeom prst="rect">
            <a:avLst/>
          </a:prstGeom>
        </p:spPr>
      </p:pic>
      <p:pic>
        <p:nvPicPr>
          <p:cNvPr id="127" name="Graphic 126">
            <a:extLst>
              <a:ext uri="{FF2B5EF4-FFF2-40B4-BE49-F238E27FC236}">
                <a16:creationId xmlns:a16="http://schemas.microsoft.com/office/drawing/2014/main" id="{86B45BAB-BBAC-4DBB-801A-FB28E73CF1F0}"/>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82077" y="1286215"/>
            <a:ext cx="349953" cy="349953"/>
          </a:xfrm>
          <a:prstGeom prst="rect">
            <a:avLst/>
          </a:prstGeom>
        </p:spPr>
      </p:pic>
      <p:pic>
        <p:nvPicPr>
          <p:cNvPr id="128" name="Graphic 127">
            <a:extLst>
              <a:ext uri="{FF2B5EF4-FFF2-40B4-BE49-F238E27FC236}">
                <a16:creationId xmlns:a16="http://schemas.microsoft.com/office/drawing/2014/main" id="{CE973CF1-D0C5-4AE3-AE6F-9752683F3FE7}"/>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54618" y="1267503"/>
            <a:ext cx="439787" cy="439787"/>
          </a:xfrm>
          <a:prstGeom prst="rect">
            <a:avLst/>
          </a:prstGeom>
        </p:spPr>
      </p:pic>
    </p:spTree>
    <p:extLst>
      <p:ext uri="{BB962C8B-B14F-4D97-AF65-F5344CB8AC3E}">
        <p14:creationId xmlns:p14="http://schemas.microsoft.com/office/powerpoint/2010/main" val="1078192069"/>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5B5026B4-5301-44EB-B70C-25E2D5354FF8}"/>
              </a:ext>
            </a:extLst>
          </p:cNvPr>
          <p:cNvGrpSpPr/>
          <p:nvPr/>
        </p:nvGrpSpPr>
        <p:grpSpPr>
          <a:xfrm>
            <a:off x="4129364" y="2305592"/>
            <a:ext cx="3988337" cy="2838679"/>
            <a:chOff x="4129364" y="2305592"/>
            <a:chExt cx="3988337" cy="2838679"/>
          </a:xfrm>
        </p:grpSpPr>
        <p:cxnSp>
          <p:nvCxnSpPr>
            <p:cNvPr id="33" name="Straight Connector 32">
              <a:extLst>
                <a:ext uri="{FF2B5EF4-FFF2-40B4-BE49-F238E27FC236}">
                  <a16:creationId xmlns:a16="http://schemas.microsoft.com/office/drawing/2014/main" id="{473C0B78-DA57-4733-9E32-30B292CFFE41}"/>
                </a:ext>
              </a:extLst>
            </p:cNvPr>
            <p:cNvCxnSpPr/>
            <p:nvPr/>
          </p:nvCxnSpPr>
          <p:spPr>
            <a:xfrm>
              <a:off x="4129364"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AEEDADE-11AC-43F3-9A79-1D9299ED0DDF}"/>
                </a:ext>
              </a:extLst>
            </p:cNvPr>
            <p:cNvCxnSpPr/>
            <p:nvPr/>
          </p:nvCxnSpPr>
          <p:spPr>
            <a:xfrm>
              <a:off x="8117701"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6" name="Rectangle 45">
            <a:extLst>
              <a:ext uri="{FF2B5EF4-FFF2-40B4-BE49-F238E27FC236}">
                <a16:creationId xmlns:a16="http://schemas.microsoft.com/office/drawing/2014/main" id="{8F5CA320-D427-4C7C-9779-CE66A51FCD7A}"/>
              </a:ext>
            </a:extLst>
          </p:cNvPr>
          <p:cNvSpPr/>
          <p:nvPr/>
        </p:nvSpPr>
        <p:spPr>
          <a:xfrm>
            <a:off x="455994" y="6237480"/>
            <a:ext cx="6646293" cy="246221"/>
          </a:xfrm>
          <a:prstGeom prst="rect">
            <a:avLst/>
          </a:prstGeom>
        </p:spPr>
        <p:txBody>
          <a:bodyPr wrap="square" lIns="0" tIns="0" rIns="0" bIns="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1 Placeholder Source; 2 Placeholder Source; </a:t>
            </a:r>
            <a:br>
              <a:rPr kumimoji="0" lang="en-US" sz="800" b="0" i="0" u="none" strike="noStrike" kern="1200" cap="none" spc="0" normalizeH="0" baseline="0" noProof="0">
                <a:ln>
                  <a:noFill/>
                </a:ln>
                <a:solidFill>
                  <a:srgbClr val="FFFFFF"/>
                </a:solidFill>
                <a:effectLst/>
                <a:uLnTx/>
                <a:uFillTx/>
                <a:latin typeface="Segoe UI"/>
                <a:ea typeface="+mn-ea"/>
                <a:cs typeface="+mn-cs"/>
              </a:rPr>
            </a:br>
            <a:r>
              <a:rPr kumimoji="0" lang="en-US" sz="800" b="0" i="0" u="none" strike="noStrike" kern="1200" cap="none" spc="0" normalizeH="0" baseline="0" noProof="0">
                <a:ln>
                  <a:noFill/>
                </a:ln>
                <a:solidFill>
                  <a:srgbClr val="FFFFFF"/>
                </a:solidFill>
                <a:effectLst/>
                <a:uLnTx/>
                <a:uFillTx/>
                <a:latin typeface="Segoe UI"/>
                <a:ea typeface="+mn-ea"/>
                <a:cs typeface="+mn-cs"/>
              </a:rPr>
              <a:t>3 </a:t>
            </a:r>
            <a:r>
              <a:rPr kumimoji="0" lang="en-US" sz="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Gartner: Market Guide for Digital Twin Portfolios and Enabling Technologies (Jan 2020)</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286444E1-3427-40E7-8FD6-846EFE97DE64}"/>
              </a:ext>
            </a:extLst>
          </p:cNvPr>
          <p:cNvGrpSpPr/>
          <p:nvPr/>
        </p:nvGrpSpPr>
        <p:grpSpPr>
          <a:xfrm>
            <a:off x="601802" y="2159314"/>
            <a:ext cx="3340312" cy="2551995"/>
            <a:chOff x="601802" y="1625922"/>
            <a:chExt cx="3340312" cy="2551995"/>
          </a:xfrm>
        </p:grpSpPr>
        <p:sp>
          <p:nvSpPr>
            <p:cNvPr id="106" name="Rectangle: Rounded Corners 105">
              <a:extLst>
                <a:ext uri="{FF2B5EF4-FFF2-40B4-BE49-F238E27FC236}">
                  <a16:creationId xmlns:a16="http://schemas.microsoft.com/office/drawing/2014/main" id="{4D5AD9A3-F226-4222-977E-800DC7D73A05}"/>
                </a:ext>
              </a:extLst>
            </p:cNvPr>
            <p:cNvSpPr/>
            <p:nvPr/>
          </p:nvSpPr>
          <p:spPr bwMode="auto">
            <a:xfrm>
              <a:off x="1259451" y="2214783"/>
              <a:ext cx="202501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Central</a:t>
              </a:r>
            </a:p>
          </p:txBody>
        </p:sp>
        <p:sp>
          <p:nvSpPr>
            <p:cNvPr id="9" name="Rectangle 8">
              <a:extLst>
                <a:ext uri="{FF2B5EF4-FFF2-40B4-BE49-F238E27FC236}">
                  <a16:creationId xmlns:a16="http://schemas.microsoft.com/office/drawing/2014/main" id="{78E7B347-6CBE-4DB3-A803-3C71BD315A04}"/>
                </a:ext>
              </a:extLst>
            </p:cNvPr>
            <p:cNvSpPr/>
            <p:nvPr/>
          </p:nvSpPr>
          <p:spPr>
            <a:xfrm>
              <a:off x="601802" y="2617653"/>
              <a:ext cx="3340312"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he easiest and most cost-effective way to connect and manage devices at scale, and time to results. </a:t>
              </a:r>
            </a:p>
          </p:txBody>
        </p:sp>
        <p:sp>
          <p:nvSpPr>
            <p:cNvPr id="47" name="Rectangle 46">
              <a:extLst>
                <a:ext uri="{FF2B5EF4-FFF2-40B4-BE49-F238E27FC236}">
                  <a16:creationId xmlns:a16="http://schemas.microsoft.com/office/drawing/2014/main" id="{4FBD8868-A632-4067-AF48-307A785F864A}"/>
                </a:ext>
              </a:extLst>
            </p:cNvPr>
            <p:cNvSpPr/>
            <p:nvPr/>
          </p:nvSpPr>
          <p:spPr>
            <a:xfrm>
              <a:off x="60180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000+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zure IoT Devices certified</a:t>
              </a:r>
              <a:r>
                <a:rPr kumimoji="0" lang="en-US" sz="1400" b="0" i="0" u="none" strike="noStrike" kern="1200" cap="none" spc="0" normalizeH="0" baseline="30000" noProof="0">
                  <a:ln>
                    <a:noFill/>
                  </a:ln>
                  <a:solidFill>
                    <a:srgbClr val="FFFFFF"/>
                  </a:solidFill>
                  <a:effectLst/>
                  <a:uLnTx/>
                  <a:uFillTx/>
                  <a:latin typeface="Segoe UI"/>
                  <a:ea typeface="+mn-ea"/>
                  <a:cs typeface="+mn-cs"/>
                </a:rPr>
                <a:t>1</a:t>
              </a:r>
            </a:p>
          </p:txBody>
        </p:sp>
        <p:pic>
          <p:nvPicPr>
            <p:cNvPr id="3" name="Graphic 2">
              <a:extLst>
                <a:ext uri="{FF2B5EF4-FFF2-40B4-BE49-F238E27FC236}">
                  <a16:creationId xmlns:a16="http://schemas.microsoft.com/office/drawing/2014/main" id="{A8523302-11E4-4107-B7E2-815378D75F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6164" y="1625922"/>
              <a:ext cx="551589" cy="551589"/>
            </a:xfrm>
            <a:prstGeom prst="rect">
              <a:avLst/>
            </a:prstGeom>
          </p:spPr>
        </p:pic>
      </p:grpSp>
      <p:grpSp>
        <p:nvGrpSpPr>
          <p:cNvPr id="10" name="Group 9">
            <a:extLst>
              <a:ext uri="{FF2B5EF4-FFF2-40B4-BE49-F238E27FC236}">
                <a16:creationId xmlns:a16="http://schemas.microsoft.com/office/drawing/2014/main" id="{69055988-44CA-450D-8E34-800471FE89BF}"/>
              </a:ext>
            </a:extLst>
          </p:cNvPr>
          <p:cNvGrpSpPr/>
          <p:nvPr/>
        </p:nvGrpSpPr>
        <p:grpSpPr>
          <a:xfrm>
            <a:off x="4278644" y="2159314"/>
            <a:ext cx="3744840" cy="2551995"/>
            <a:chOff x="4278644" y="1625922"/>
            <a:chExt cx="3744840" cy="2551995"/>
          </a:xfrm>
        </p:grpSpPr>
        <p:sp>
          <p:nvSpPr>
            <p:cNvPr id="107" name="Rectangle: Rounded Corners 106">
              <a:extLst>
                <a:ext uri="{FF2B5EF4-FFF2-40B4-BE49-F238E27FC236}">
                  <a16:creationId xmlns:a16="http://schemas.microsoft.com/office/drawing/2014/main" id="{68FC8914-922F-4F09-A9F8-230258D9BA74}"/>
                </a:ext>
              </a:extLst>
            </p:cNvPr>
            <p:cNvSpPr/>
            <p:nvPr/>
          </p:nvSpPr>
          <p:spPr bwMode="auto">
            <a:xfrm>
              <a:off x="5199837" y="2214783"/>
              <a:ext cx="190245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Hub</a:t>
              </a:r>
            </a:p>
          </p:txBody>
        </p:sp>
        <p:sp>
          <p:nvSpPr>
            <p:cNvPr id="43" name="Rectangle 42">
              <a:extLst>
                <a:ext uri="{FF2B5EF4-FFF2-40B4-BE49-F238E27FC236}">
                  <a16:creationId xmlns:a16="http://schemas.microsoft.com/office/drawing/2014/main" id="{40D0CAB4-9491-4F2B-8730-17348EAF3540}"/>
                </a:ext>
              </a:extLst>
            </p:cNvPr>
            <p:cNvSpPr/>
            <p:nvPr/>
          </p:nvSpPr>
          <p:spPr>
            <a:xfrm>
              <a:off x="4278644" y="2617653"/>
              <a:ext cx="3744840"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able highly secure, flexible and reliable communication from the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loud to the edge. </a:t>
              </a:r>
            </a:p>
          </p:txBody>
        </p:sp>
        <p:sp>
          <p:nvSpPr>
            <p:cNvPr id="48" name="Rectangle 47">
              <a:extLst>
                <a:ext uri="{FF2B5EF4-FFF2-40B4-BE49-F238E27FC236}">
                  <a16:creationId xmlns:a16="http://schemas.microsoft.com/office/drawing/2014/main" id="{EB6B8BEB-6E34-4905-973D-E701ABC0BD99}"/>
                </a:ext>
              </a:extLst>
            </p:cNvPr>
            <p:cNvSpPr/>
            <p:nvPr/>
          </p:nvSpPr>
          <p:spPr>
            <a:xfrm>
              <a:off x="441168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50 billion message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per month via IoT Hub</a:t>
              </a:r>
              <a:r>
                <a:rPr kumimoji="0" lang="en-US" sz="1400" b="0" i="0" u="none" strike="noStrike" kern="1200" cap="none" spc="0" normalizeH="0" baseline="30000" noProof="0">
                  <a:ln>
                    <a:noFill/>
                  </a:ln>
                  <a:solidFill>
                    <a:srgbClr val="FFFFFF"/>
                  </a:solidFill>
                  <a:effectLst/>
                  <a:uLnTx/>
                  <a:uFillTx/>
                  <a:latin typeface="Segoe UI"/>
                  <a:ea typeface="+mn-ea"/>
                  <a:cs typeface="+mn-cs"/>
                </a:rPr>
                <a:t>2</a:t>
              </a:r>
            </a:p>
          </p:txBody>
        </p:sp>
        <p:pic>
          <p:nvPicPr>
            <p:cNvPr id="5" name="Graphic 4">
              <a:extLst>
                <a:ext uri="{FF2B5EF4-FFF2-40B4-BE49-F238E27FC236}">
                  <a16:creationId xmlns:a16="http://schemas.microsoft.com/office/drawing/2014/main" id="{5A23B50E-0584-4EB2-88A3-ED40F6EC00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75269" y="1625922"/>
              <a:ext cx="551589" cy="551589"/>
            </a:xfrm>
            <a:prstGeom prst="rect">
              <a:avLst/>
            </a:prstGeom>
          </p:spPr>
        </p:pic>
      </p:gr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Develop with choice</a:t>
            </a:r>
          </a:p>
        </p:txBody>
      </p:sp>
      <p:grpSp>
        <p:nvGrpSpPr>
          <p:cNvPr id="15" name="Group 14">
            <a:extLst>
              <a:ext uri="{FF2B5EF4-FFF2-40B4-BE49-F238E27FC236}">
                <a16:creationId xmlns:a16="http://schemas.microsoft.com/office/drawing/2014/main" id="{F861CA85-5A85-46F9-9287-E776BE2BE296}"/>
              </a:ext>
            </a:extLst>
          </p:cNvPr>
          <p:cNvGrpSpPr/>
          <p:nvPr/>
        </p:nvGrpSpPr>
        <p:grpSpPr>
          <a:xfrm>
            <a:off x="8117701" y="2111181"/>
            <a:ext cx="3610521" cy="2877127"/>
            <a:chOff x="8117701" y="2111181"/>
            <a:chExt cx="3610521" cy="2877127"/>
          </a:xfrm>
        </p:grpSpPr>
        <p:sp>
          <p:nvSpPr>
            <p:cNvPr id="108" name="Rectangle: Rounded Corners 107">
              <a:extLst>
                <a:ext uri="{FF2B5EF4-FFF2-40B4-BE49-F238E27FC236}">
                  <a16:creationId xmlns:a16="http://schemas.microsoft.com/office/drawing/2014/main" id="{F9587B98-1C7F-4E37-B9B7-79F5A3679443}"/>
                </a:ext>
              </a:extLst>
            </p:cNvPr>
            <p:cNvSpPr/>
            <p:nvPr/>
          </p:nvSpPr>
          <p:spPr bwMode="auto">
            <a:xfrm>
              <a:off x="9121809" y="2592370"/>
              <a:ext cx="1524642" cy="75050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Digital Twins</a:t>
              </a:r>
            </a:p>
          </p:txBody>
        </p:sp>
        <p:sp>
          <p:nvSpPr>
            <p:cNvPr id="44" name="Rectangle 43">
              <a:extLst>
                <a:ext uri="{FF2B5EF4-FFF2-40B4-BE49-F238E27FC236}">
                  <a16:creationId xmlns:a16="http://schemas.microsoft.com/office/drawing/2014/main" id="{03D32946-4D5E-46A8-B3F0-5D9367580F48}"/>
                </a:ext>
              </a:extLst>
            </p:cNvPr>
            <p:cNvSpPr/>
            <p:nvPr/>
          </p:nvSpPr>
          <p:spPr>
            <a:xfrm>
              <a:off x="8241507" y="3151045"/>
              <a:ext cx="3285249"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mprehensive digital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odels of entire environments.</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r>
                <a:rPr kumimoji="0" lang="en-US"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49" name="Rectangle 48">
              <a:extLst>
                <a:ext uri="{FF2B5EF4-FFF2-40B4-BE49-F238E27FC236}">
                  <a16:creationId xmlns:a16="http://schemas.microsoft.com/office/drawing/2014/main" id="{D8494E7F-813C-4FD4-B695-3EBFAF72E1A3}"/>
                </a:ext>
              </a:extLst>
            </p:cNvPr>
            <p:cNvSpPr/>
            <p:nvPr/>
          </p:nvSpPr>
          <p:spPr>
            <a:xfrm>
              <a:off x="8117701" y="4126534"/>
              <a:ext cx="3610521" cy="86177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artner includes Microsoft as a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50E6FF"/>
                  </a:solidFill>
                  <a:effectLst/>
                  <a:uLnTx/>
                  <a:uFillTx/>
                  <a:latin typeface="Segoe UI Semibold"/>
                  <a:ea typeface="+mn-ea"/>
                  <a:cs typeface="+mn-cs"/>
                </a:rPr>
                <a:t>Digital-Twin-Enabled Application Provider</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p>
          </p:txBody>
        </p:sp>
        <p:pic>
          <p:nvPicPr>
            <p:cNvPr id="387074" name="Picture 2" descr="azure-digital-twins - Microsoft Q&amp;A">
              <a:extLst>
                <a:ext uri="{FF2B5EF4-FFF2-40B4-BE49-F238E27FC236}">
                  <a16:creationId xmlns:a16="http://schemas.microsoft.com/office/drawing/2014/main" id="{6784C5AA-7566-43A7-8BEB-3988EFAAE86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4287" y="2111181"/>
              <a:ext cx="659686" cy="6596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23192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ecel="100000" fill="hold" nodeType="withEffect">
                                  <p:stCondLst>
                                    <p:cond delay="0"/>
                                  </p:stCondLst>
                                  <p:childTnLst>
                                    <p:animMotion origin="layout" path="M 0 4.44444E-6 L 0 0.01898 " pathEditMode="relative" rAng="0" ptsTypes="AA">
                                      <p:cBhvr>
                                        <p:cTn id="12" dur="700" spd="-100000" fill="hold"/>
                                        <p:tgtEl>
                                          <p:spTgt spid="8"/>
                                        </p:tgtEl>
                                        <p:attrNameLst>
                                          <p:attrName>ppt_x</p:attrName>
                                          <p:attrName>ppt_y</p:attrName>
                                        </p:attrNameLst>
                                      </p:cBhvr>
                                      <p:rCtr x="0" y="949"/>
                                    </p:animMotion>
                                  </p:childTnLst>
                                </p:cTn>
                              </p:par>
                              <p:par>
                                <p:cTn id="13" presetID="10" presetClass="entr" presetSubtype="0" fill="hold" nodeType="with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nodeType="withEffect">
                                  <p:stCondLst>
                                    <p:cond delay="250"/>
                                  </p:stCondLst>
                                  <p:childTnLst>
                                    <p:animMotion origin="layout" path="M 0 4.44444E-6 L 0 0.01898 " pathEditMode="relative" rAng="0" ptsTypes="AA">
                                      <p:cBhvr>
                                        <p:cTn id="17" dur="700" spd="-100000" fill="hold"/>
                                        <p:tgtEl>
                                          <p:spTgt spid="10"/>
                                        </p:tgtEl>
                                        <p:attrNameLst>
                                          <p:attrName>ppt_x</p:attrName>
                                          <p:attrName>ppt_y</p:attrName>
                                        </p:attrNameLst>
                                      </p:cBhvr>
                                      <p:rCtr x="0" y="949"/>
                                    </p:animMotion>
                                  </p:childTnLst>
                                </p:cTn>
                              </p:par>
                              <p:par>
                                <p:cTn id="18" presetID="10" presetClass="entr" presetSubtype="0" fill="hold" nodeType="withEffect">
                                  <p:stCondLst>
                                    <p:cond delay="5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42" presetClass="path" presetSubtype="0" decel="100000" fill="hold" nodeType="withEffect">
                                  <p:stCondLst>
                                    <p:cond delay="500"/>
                                  </p:stCondLst>
                                  <p:childTnLst>
                                    <p:animMotion origin="layout" path="M 0 4.44444E-6 L 0 0.01898 " pathEditMode="relative" rAng="0" ptsTypes="AA">
                                      <p:cBhvr>
                                        <p:cTn id="22" dur="700" spd="-100000" fill="hold"/>
                                        <p:tgtEl>
                                          <p:spTgt spid="15"/>
                                        </p:tgtEl>
                                        <p:attrNameLst>
                                          <p:attrName>ppt_x</p:attrName>
                                          <p:attrName>ppt_y</p:attrName>
                                        </p:attrNameLst>
                                      </p:cBhvr>
                                      <p:rCtr x="0" y="949"/>
                                    </p:animMotion>
                                  </p:childTnLst>
                                </p:cTn>
                              </p:par>
                            </p:childTnLst>
                          </p:cTn>
                        </p:par>
                      </p:childTnLst>
                    </p:cTn>
                  </p:par>
                  <p:par>
                    <p:cTn id="23" fill="hold">
                      <p:stCondLst>
                        <p:cond delay="indefinite"/>
                      </p:stCondLst>
                      <p:childTnLst>
                        <p:par>
                          <p:cTn id="24" fill="hold">
                            <p:stCondLst>
                              <p:cond delay="0"/>
                            </p:stCondLst>
                            <p:childTnLst>
                              <p:par>
                                <p:cTn id="25" presetID="9" presetClass="emph" presetSubtype="0" nodeType="clickEffect">
                                  <p:stCondLst>
                                    <p:cond delay="0"/>
                                  </p:stCondLst>
                                  <p:childTnLst>
                                    <p:set>
                                      <p:cBhvr>
                                        <p:cTn id="26" dur="indefinite"/>
                                        <p:tgtEl>
                                          <p:spTgt spid="8"/>
                                        </p:tgtEl>
                                        <p:attrNameLst>
                                          <p:attrName>style.opacity</p:attrName>
                                        </p:attrNameLst>
                                      </p:cBhvr>
                                      <p:to>
                                        <p:strVal val="0.5"/>
                                      </p:to>
                                    </p:set>
                                    <p:animEffect filter="image" prLst="opacity: 0.5">
                                      <p:cBhvr rctx="IE">
                                        <p:cTn id="27" dur="indefinite"/>
                                        <p:tgtEl>
                                          <p:spTgt spid="8"/>
                                        </p:tgtEl>
                                      </p:cBhvr>
                                    </p:animEffect>
                                  </p:childTnLst>
                                </p:cTn>
                              </p:par>
                              <p:par>
                                <p:cTn id="28" presetID="9" presetClass="emph" presetSubtype="0" nodeType="withEffect">
                                  <p:stCondLst>
                                    <p:cond delay="0"/>
                                  </p:stCondLst>
                                  <p:childTnLst>
                                    <p:set>
                                      <p:cBhvr>
                                        <p:cTn id="29" dur="indefinite"/>
                                        <p:tgtEl>
                                          <p:spTgt spid="15"/>
                                        </p:tgtEl>
                                        <p:attrNameLst>
                                          <p:attrName>style.opacity</p:attrName>
                                        </p:attrNameLst>
                                      </p:cBhvr>
                                      <p:to>
                                        <p:strVal val="0.5"/>
                                      </p:to>
                                    </p:set>
                                    <p:animEffect filter="image" prLst="opacity: 0.5">
                                      <p:cBhvr rctx="IE">
                                        <p:cTn id="30" dur="indefinite"/>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A39775FF-3CCB-48F6-9BAB-99B18AB869C0}"/>
              </a:ext>
            </a:extLst>
          </p:cNvPr>
          <p:cNvSpPr/>
          <p:nvPr/>
        </p:nvSpPr>
        <p:spPr>
          <a:xfrm>
            <a:off x="517830" y="2104437"/>
            <a:ext cx="7824544"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3" name="Rectangle 82">
            <a:extLst>
              <a:ext uri="{FF2B5EF4-FFF2-40B4-BE49-F238E27FC236}">
                <a16:creationId xmlns:a16="http://schemas.microsoft.com/office/drawing/2014/main" id="{5B9D2D80-910E-4E15-9894-32FB0D97CFF4}"/>
              </a:ext>
            </a:extLst>
          </p:cNvPr>
          <p:cNvSpPr/>
          <p:nvPr/>
        </p:nvSpPr>
        <p:spPr>
          <a:xfrm>
            <a:off x="8878429" y="2104437"/>
            <a:ext cx="2772342"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4" name="Text Placeholder 7">
            <a:extLst>
              <a:ext uri="{FF2B5EF4-FFF2-40B4-BE49-F238E27FC236}">
                <a16:creationId xmlns:a16="http://schemas.microsoft.com/office/drawing/2014/main" id="{AA985A5E-CB27-4B92-8670-594E539F9340}"/>
              </a:ext>
            </a:extLst>
          </p:cNvPr>
          <p:cNvSpPr txBox="1">
            <a:spLocks/>
          </p:cNvSpPr>
          <p:nvPr/>
        </p:nvSpPr>
        <p:spPr>
          <a:xfrm>
            <a:off x="3171914" y="3023742"/>
            <a:ext cx="1982895" cy="477727"/>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terprise scale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amp; integration</a:t>
            </a:r>
          </a:p>
          <a:p>
            <a:pPr marL="10707" lvl="1" algn="ctr" defTabSz="271850">
              <a:defRPr/>
            </a:pPr>
            <a:endParaRPr lang="en-US" sz="1400">
              <a:solidFill>
                <a:schemeClr val="bg1"/>
              </a:solidFill>
              <a:latin typeface="Segoe UI Semibold" panose="020B0702040204020203" pitchFamily="34" charset="0"/>
              <a:cs typeface="Segoe UI Semibold" panose="020B0702040204020203" pitchFamily="34" charset="0"/>
            </a:endParaRPr>
          </a:p>
        </p:txBody>
      </p:sp>
      <p:sp>
        <p:nvSpPr>
          <p:cNvPr id="85" name="Text Placeholder 7">
            <a:extLst>
              <a:ext uri="{FF2B5EF4-FFF2-40B4-BE49-F238E27FC236}">
                <a16:creationId xmlns:a16="http://schemas.microsoft.com/office/drawing/2014/main" id="{923F50D3-86B5-44FD-B253-389CC2BBC08B}"/>
              </a:ext>
            </a:extLst>
          </p:cNvPr>
          <p:cNvSpPr txBox="1">
            <a:spLocks/>
          </p:cNvSpPr>
          <p:nvPr/>
        </p:nvSpPr>
        <p:spPr>
          <a:xfrm>
            <a:off x="2842714" y="3898572"/>
            <a:ext cx="26412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Billions of messages</a:t>
            </a:r>
          </a:p>
          <a:p>
            <a:pPr lvl="1" algn="ctr" defTabSz="932563">
              <a:defRPr/>
            </a:pPr>
            <a:r>
              <a:rPr lang="en-US" sz="1200">
                <a:solidFill>
                  <a:schemeClr val="bg1"/>
                </a:solidFill>
                <a:latin typeface="Segoe UI"/>
              </a:rPr>
              <a:t>Scale up and down</a:t>
            </a:r>
          </a:p>
          <a:p>
            <a:pPr lvl="1" algn="ctr" defTabSz="932563">
              <a:defRPr/>
            </a:pPr>
            <a:r>
              <a:rPr lang="en-US" sz="1200">
                <a:solidFill>
                  <a:schemeClr val="bg1"/>
                </a:solidFill>
                <a:latin typeface="Segoe UI"/>
              </a:rPr>
              <a:t>Declarative Message Routes</a:t>
            </a:r>
          </a:p>
          <a:p>
            <a:pPr lvl="1" algn="ctr" defTabSz="932563">
              <a:defRPr/>
            </a:pPr>
            <a:r>
              <a:rPr lang="en-US" sz="1200">
                <a:solidFill>
                  <a:schemeClr val="bg1"/>
                </a:solidFill>
                <a:latin typeface="Segoe UI"/>
              </a:rPr>
              <a:t>File Upload</a:t>
            </a:r>
          </a:p>
          <a:p>
            <a:pPr lvl="1" algn="ctr" defTabSz="932563">
              <a:defRPr/>
            </a:pPr>
            <a:r>
              <a:rPr lang="en-US" sz="1200" err="1">
                <a:solidFill>
                  <a:schemeClr val="bg1"/>
                </a:solidFill>
                <a:latin typeface="Segoe UI"/>
              </a:rPr>
              <a:t>WebSockets</a:t>
            </a:r>
            <a:r>
              <a:rPr lang="en-US" sz="1200">
                <a:solidFill>
                  <a:schemeClr val="bg1"/>
                </a:solidFill>
                <a:latin typeface="Segoe UI"/>
              </a:rPr>
              <a:t> &amp; Multiplexing</a:t>
            </a:r>
          </a:p>
          <a:p>
            <a:pPr lvl="1" algn="ctr" defTabSz="932563">
              <a:defRPr/>
            </a:pPr>
            <a:r>
              <a:rPr lang="en-US" sz="1200">
                <a:solidFill>
                  <a:schemeClr val="bg1"/>
                </a:solidFill>
                <a:latin typeface="Segoe UI"/>
              </a:rPr>
              <a:t>Azure Monitor</a:t>
            </a:r>
          </a:p>
          <a:p>
            <a:pPr lvl="1" algn="ctr" defTabSz="932563">
              <a:defRPr/>
            </a:pPr>
            <a:r>
              <a:rPr lang="en-US" sz="1200">
                <a:solidFill>
                  <a:schemeClr val="bg1"/>
                </a:solidFill>
                <a:latin typeface="Segoe UI"/>
              </a:rPr>
              <a:t>Azure Resource Health</a:t>
            </a:r>
          </a:p>
          <a:p>
            <a:pPr lvl="1" algn="ctr" defTabSz="932563">
              <a:defRPr/>
            </a:pPr>
            <a:r>
              <a:rPr lang="en-US" sz="1200">
                <a:solidFill>
                  <a:schemeClr val="bg1"/>
                </a:solidFill>
                <a:latin typeface="Segoe UI"/>
              </a:rPr>
              <a:t>Configuration Management</a:t>
            </a:r>
          </a:p>
        </p:txBody>
      </p:sp>
      <p:cxnSp>
        <p:nvCxnSpPr>
          <p:cNvPr id="86" name="Straight Connector 85">
            <a:extLst>
              <a:ext uri="{FF2B5EF4-FFF2-40B4-BE49-F238E27FC236}">
                <a16:creationId xmlns:a16="http://schemas.microsoft.com/office/drawing/2014/main" id="{89DF78A7-83D9-4362-A007-7B2F01909ED3}"/>
              </a:ext>
            </a:extLst>
          </p:cNvPr>
          <p:cNvCxnSpPr/>
          <p:nvPr/>
        </p:nvCxnSpPr>
        <p:spPr>
          <a:xfrm>
            <a:off x="3477629" y="3767217"/>
            <a:ext cx="1371465" cy="0"/>
          </a:xfrm>
          <a:prstGeom prst="line">
            <a:avLst/>
          </a:prstGeom>
          <a:noFill/>
          <a:ln w="19050" cap="flat" cmpd="sng" algn="ctr">
            <a:solidFill>
              <a:schemeClr val="tx2"/>
            </a:solidFill>
            <a:prstDash val="sysDot"/>
          </a:ln>
          <a:effectLst/>
        </p:spPr>
      </p:cxnSp>
      <p:sp>
        <p:nvSpPr>
          <p:cNvPr id="87" name="Text Placeholder 8">
            <a:extLst>
              <a:ext uri="{FF2B5EF4-FFF2-40B4-BE49-F238E27FC236}">
                <a16:creationId xmlns:a16="http://schemas.microsoft.com/office/drawing/2014/main" id="{5A558FF3-0E36-4A4B-BBE6-74FF8BDD0B62}"/>
              </a:ext>
            </a:extLst>
          </p:cNvPr>
          <p:cNvSpPr txBox="1">
            <a:spLocks/>
          </p:cNvSpPr>
          <p:nvPr/>
        </p:nvSpPr>
        <p:spPr>
          <a:xfrm>
            <a:off x="5875322" y="3023744"/>
            <a:ext cx="1982894"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d-to-end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security</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88" name="Text Placeholder 8">
            <a:extLst>
              <a:ext uri="{FF2B5EF4-FFF2-40B4-BE49-F238E27FC236}">
                <a16:creationId xmlns:a16="http://schemas.microsoft.com/office/drawing/2014/main" id="{946B3C3B-5E18-4966-AED6-7AD2C180AC6A}"/>
              </a:ext>
            </a:extLst>
          </p:cNvPr>
          <p:cNvSpPr txBox="1">
            <a:spLocks/>
          </p:cNvSpPr>
          <p:nvPr/>
        </p:nvSpPr>
        <p:spPr>
          <a:xfrm>
            <a:off x="5564071" y="3898572"/>
            <a:ext cx="26053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dirty="0">
                <a:solidFill>
                  <a:schemeClr val="bg1"/>
                </a:solidFill>
                <a:latin typeface="Segoe UI"/>
              </a:rPr>
              <a:t>Per Device Certificates</a:t>
            </a:r>
          </a:p>
          <a:p>
            <a:pPr lvl="1" algn="ctr" defTabSz="932563">
              <a:defRPr/>
            </a:pPr>
            <a:r>
              <a:rPr lang="en-US" sz="1200" dirty="0">
                <a:solidFill>
                  <a:schemeClr val="bg1"/>
                </a:solidFill>
                <a:latin typeface="Segoe UI"/>
              </a:rPr>
              <a:t>Per Device Enable/Disable</a:t>
            </a:r>
          </a:p>
          <a:p>
            <a:pPr lvl="1" algn="ctr" defTabSz="932563">
              <a:defRPr/>
            </a:pPr>
            <a:r>
              <a:rPr lang="en-US" sz="1200" dirty="0">
                <a:solidFill>
                  <a:schemeClr val="bg1"/>
                </a:solidFill>
                <a:latin typeface="Segoe UI"/>
              </a:rPr>
              <a:t>TLS Security</a:t>
            </a:r>
          </a:p>
          <a:p>
            <a:pPr lvl="1" algn="ctr" defTabSz="932563">
              <a:defRPr/>
            </a:pPr>
            <a:r>
              <a:rPr lang="en-US" sz="1200" dirty="0">
                <a:solidFill>
                  <a:schemeClr val="bg1"/>
                </a:solidFill>
                <a:latin typeface="Segoe UI"/>
              </a:rPr>
              <a:t>X.509 Support</a:t>
            </a:r>
          </a:p>
          <a:p>
            <a:pPr lvl="1" algn="ctr" defTabSz="932563">
              <a:defRPr/>
            </a:pPr>
            <a:r>
              <a:rPr lang="en-US" sz="1200" dirty="0">
                <a:solidFill>
                  <a:schemeClr val="bg1"/>
                </a:solidFill>
                <a:latin typeface="Segoe UI"/>
              </a:rPr>
              <a:t>IP Whitelisting/Blacklisting</a:t>
            </a:r>
          </a:p>
          <a:p>
            <a:pPr lvl="1" algn="ctr" defTabSz="932563">
              <a:defRPr/>
            </a:pPr>
            <a:r>
              <a:rPr lang="en-US" sz="1200" dirty="0">
                <a:solidFill>
                  <a:schemeClr val="bg1"/>
                </a:solidFill>
                <a:latin typeface="Segoe UI"/>
              </a:rPr>
              <a:t>Shared Access Polices</a:t>
            </a:r>
          </a:p>
          <a:p>
            <a:pPr lvl="1" algn="ctr" defTabSz="932563">
              <a:defRPr/>
            </a:pPr>
            <a:r>
              <a:rPr lang="en-US" sz="1200" dirty="0">
                <a:solidFill>
                  <a:schemeClr val="bg1"/>
                </a:solidFill>
                <a:latin typeface="Segoe UI"/>
              </a:rPr>
              <a:t>Firmware/Software Updates</a:t>
            </a:r>
          </a:p>
          <a:p>
            <a:pPr lvl="1" algn="ctr" defTabSz="932563">
              <a:defRPr/>
            </a:pPr>
            <a:r>
              <a:rPr lang="en-US" sz="1200" dirty="0">
                <a:solidFill>
                  <a:schemeClr val="bg1"/>
                </a:solidFill>
                <a:latin typeface="Segoe UI"/>
              </a:rPr>
              <a:t>Azure Defender Support</a:t>
            </a:r>
          </a:p>
        </p:txBody>
      </p:sp>
      <p:cxnSp>
        <p:nvCxnSpPr>
          <p:cNvPr id="89" name="Straight Connector 88">
            <a:extLst>
              <a:ext uri="{FF2B5EF4-FFF2-40B4-BE49-F238E27FC236}">
                <a16:creationId xmlns:a16="http://schemas.microsoft.com/office/drawing/2014/main" id="{F52E9B01-28B1-4944-82FE-1C59E4FD5DE7}"/>
              </a:ext>
            </a:extLst>
          </p:cNvPr>
          <p:cNvCxnSpPr/>
          <p:nvPr/>
        </p:nvCxnSpPr>
        <p:spPr>
          <a:xfrm>
            <a:off x="6181035" y="3767788"/>
            <a:ext cx="1371465" cy="0"/>
          </a:xfrm>
          <a:prstGeom prst="line">
            <a:avLst/>
          </a:prstGeom>
          <a:noFill/>
          <a:ln w="19050" cap="flat" cmpd="sng" algn="ctr">
            <a:solidFill>
              <a:schemeClr val="tx2"/>
            </a:solidFill>
            <a:prstDash val="sysDot"/>
          </a:ln>
          <a:effectLst/>
        </p:spPr>
      </p:cxnSp>
      <p:sp>
        <p:nvSpPr>
          <p:cNvPr id="90" name="Text Placeholder 6">
            <a:extLst>
              <a:ext uri="{FF2B5EF4-FFF2-40B4-BE49-F238E27FC236}">
                <a16:creationId xmlns:a16="http://schemas.microsoft.com/office/drawing/2014/main" id="{A4184A91-F3DB-4CDA-BD68-7DFB4DA875E7}"/>
              </a:ext>
            </a:extLst>
          </p:cNvPr>
          <p:cNvSpPr txBox="1">
            <a:spLocks/>
          </p:cNvSpPr>
          <p:nvPr/>
        </p:nvSpPr>
        <p:spPr>
          <a:xfrm>
            <a:off x="612387" y="3023744"/>
            <a:ext cx="1982895"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Bi-directional communication</a:t>
            </a:r>
            <a:endParaRPr lang="en-US" sz="1400">
              <a:solidFill>
                <a:schemeClr val="bg1"/>
              </a:solidFill>
              <a:latin typeface="Segoe UI Semilight" panose="020B0402040204020203" pitchFamily="34" charset="0"/>
              <a:cs typeface="Segoe UI Semilight" panose="020B0402040204020203" pitchFamily="34" charset="0"/>
            </a:endParaRPr>
          </a:p>
        </p:txBody>
      </p:sp>
      <p:sp>
        <p:nvSpPr>
          <p:cNvPr id="91" name="Text Placeholder 6">
            <a:extLst>
              <a:ext uri="{FF2B5EF4-FFF2-40B4-BE49-F238E27FC236}">
                <a16:creationId xmlns:a16="http://schemas.microsoft.com/office/drawing/2014/main" id="{3D37850B-9A2C-4501-9571-B864A2BC86A1}"/>
              </a:ext>
            </a:extLst>
          </p:cNvPr>
          <p:cNvSpPr txBox="1">
            <a:spLocks/>
          </p:cNvSpPr>
          <p:nvPr/>
        </p:nvSpPr>
        <p:spPr>
          <a:xfrm>
            <a:off x="343068" y="3898573"/>
            <a:ext cx="2521532" cy="251261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Millions of Devices</a:t>
            </a:r>
          </a:p>
          <a:p>
            <a:pPr lvl="1" algn="ctr" defTabSz="932563">
              <a:defRPr/>
            </a:pPr>
            <a:r>
              <a:rPr lang="en-US" sz="1200">
                <a:solidFill>
                  <a:schemeClr val="bg1"/>
                </a:solidFill>
                <a:latin typeface="Segoe UI"/>
              </a:rPr>
              <a:t>Multi-language, open source SDKs</a:t>
            </a:r>
          </a:p>
          <a:p>
            <a:pPr lvl="1" algn="ctr" defTabSz="932563">
              <a:defRPr/>
            </a:pPr>
            <a:r>
              <a:rPr lang="en-US" sz="1200">
                <a:solidFill>
                  <a:schemeClr val="bg1"/>
                </a:solidFill>
                <a:latin typeface="Segoe UI"/>
              </a:rPr>
              <a:t>HTTPS/AMQPS/MQTTS</a:t>
            </a:r>
          </a:p>
          <a:p>
            <a:pPr lvl="1" algn="ctr" defTabSz="932563">
              <a:defRPr/>
            </a:pPr>
            <a:r>
              <a:rPr lang="en-US" sz="1200">
                <a:solidFill>
                  <a:schemeClr val="bg1"/>
                </a:solidFill>
                <a:latin typeface="Segoe UI"/>
              </a:rPr>
              <a:t>Send Telemetry</a:t>
            </a:r>
          </a:p>
          <a:p>
            <a:pPr lvl="1" algn="ctr" defTabSz="932563">
              <a:defRPr/>
            </a:pPr>
            <a:r>
              <a:rPr lang="en-US" sz="1200">
                <a:solidFill>
                  <a:schemeClr val="bg1"/>
                </a:solidFill>
                <a:latin typeface="Segoe UI"/>
              </a:rPr>
              <a:t>Receive Commands</a:t>
            </a:r>
          </a:p>
          <a:p>
            <a:pPr lvl="1" algn="ctr" defTabSz="932563">
              <a:defRPr/>
            </a:pPr>
            <a:r>
              <a:rPr lang="en-US" sz="1200">
                <a:solidFill>
                  <a:schemeClr val="bg1"/>
                </a:solidFill>
                <a:latin typeface="Segoe UI"/>
              </a:rPr>
              <a:t>Device Management</a:t>
            </a:r>
          </a:p>
          <a:p>
            <a:pPr lvl="1" algn="ctr" defTabSz="932563">
              <a:defRPr/>
            </a:pPr>
            <a:r>
              <a:rPr lang="en-US" sz="1200">
                <a:solidFill>
                  <a:schemeClr val="bg1"/>
                </a:solidFill>
                <a:latin typeface="Segoe UI"/>
              </a:rPr>
              <a:t>Device Twins</a:t>
            </a:r>
          </a:p>
          <a:p>
            <a:pPr lvl="1" algn="ctr" defTabSz="932563">
              <a:defRPr/>
            </a:pPr>
            <a:r>
              <a:rPr lang="en-US" sz="1200">
                <a:solidFill>
                  <a:schemeClr val="bg1"/>
                </a:solidFill>
                <a:latin typeface="Segoe UI"/>
              </a:rPr>
              <a:t>Queries &amp; Jobs</a:t>
            </a:r>
          </a:p>
        </p:txBody>
      </p:sp>
      <p:cxnSp>
        <p:nvCxnSpPr>
          <p:cNvPr id="92" name="Straight Connector 91">
            <a:extLst>
              <a:ext uri="{FF2B5EF4-FFF2-40B4-BE49-F238E27FC236}">
                <a16:creationId xmlns:a16="http://schemas.microsoft.com/office/drawing/2014/main" id="{3ADD9071-C36D-418D-8FCD-9FE416F56ED4}"/>
              </a:ext>
            </a:extLst>
          </p:cNvPr>
          <p:cNvCxnSpPr/>
          <p:nvPr/>
        </p:nvCxnSpPr>
        <p:spPr>
          <a:xfrm>
            <a:off x="918102" y="3751387"/>
            <a:ext cx="1371465" cy="0"/>
          </a:xfrm>
          <a:prstGeom prst="line">
            <a:avLst/>
          </a:prstGeom>
          <a:noFill/>
          <a:ln w="19050" cap="flat" cmpd="sng" algn="ctr">
            <a:solidFill>
              <a:schemeClr val="tx2"/>
            </a:solidFill>
            <a:prstDash val="sysDot"/>
          </a:ln>
          <a:effectLst/>
        </p:spPr>
      </p:cxnSp>
      <p:sp>
        <p:nvSpPr>
          <p:cNvPr id="93" name="Text Placeholder 8">
            <a:extLst>
              <a:ext uri="{FF2B5EF4-FFF2-40B4-BE49-F238E27FC236}">
                <a16:creationId xmlns:a16="http://schemas.microsoft.com/office/drawing/2014/main" id="{F596F23D-91AE-442C-ADE9-A041C3457562}"/>
              </a:ext>
            </a:extLst>
          </p:cNvPr>
          <p:cNvSpPr txBox="1">
            <a:spLocks/>
          </p:cNvSpPr>
          <p:nvPr/>
        </p:nvSpPr>
        <p:spPr>
          <a:xfrm>
            <a:off x="9056325" y="3023744"/>
            <a:ext cx="2416547"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IoT-scale automated provisioning</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94" name="Text Placeholder 8">
            <a:extLst>
              <a:ext uri="{FF2B5EF4-FFF2-40B4-BE49-F238E27FC236}">
                <a16:creationId xmlns:a16="http://schemas.microsoft.com/office/drawing/2014/main" id="{81E2E5FF-BE10-4846-9B9D-53C1BBF6533B}"/>
              </a:ext>
            </a:extLst>
          </p:cNvPr>
          <p:cNvSpPr txBox="1">
            <a:spLocks/>
          </p:cNvSpPr>
          <p:nvPr/>
        </p:nvSpPr>
        <p:spPr>
          <a:xfrm>
            <a:off x="9112870" y="3898572"/>
            <a:ext cx="2303457" cy="182970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Zero-touch provisioning</a:t>
            </a:r>
          </a:p>
          <a:p>
            <a:pPr lvl="1" algn="ctr" defTabSz="932563">
              <a:defRPr/>
            </a:pPr>
            <a:r>
              <a:rPr lang="en-US" sz="1200">
                <a:solidFill>
                  <a:schemeClr val="bg1"/>
                </a:solidFill>
                <a:latin typeface="Segoe UI"/>
              </a:rPr>
              <a:t>Centralize  your provisioning workflow</a:t>
            </a:r>
          </a:p>
          <a:p>
            <a:pPr lvl="1" algn="ctr" defTabSz="932563">
              <a:defRPr/>
            </a:pPr>
            <a:r>
              <a:rPr lang="en-US" sz="1200">
                <a:solidFill>
                  <a:schemeClr val="bg1"/>
                </a:solidFill>
                <a:latin typeface="Segoe UI"/>
              </a:rPr>
              <a:t>Load balance across multiple IoT Hubs</a:t>
            </a:r>
          </a:p>
          <a:p>
            <a:pPr lvl="1" algn="ctr" defTabSz="932563">
              <a:defRPr/>
            </a:pPr>
            <a:r>
              <a:rPr lang="en-US" sz="1200">
                <a:solidFill>
                  <a:schemeClr val="bg1"/>
                </a:solidFill>
                <a:latin typeface="Segoe UI"/>
              </a:rPr>
              <a:t>Re-provisioning support</a:t>
            </a:r>
          </a:p>
          <a:p>
            <a:pPr lvl="1" algn="ctr" defTabSz="932563">
              <a:defRPr/>
            </a:pPr>
            <a:r>
              <a:rPr lang="en-US" sz="1200">
                <a:solidFill>
                  <a:schemeClr val="bg1"/>
                </a:solidFill>
                <a:latin typeface="Segoe UI"/>
              </a:rPr>
              <a:t>Supports TPM + X.509</a:t>
            </a:r>
          </a:p>
        </p:txBody>
      </p:sp>
      <p:cxnSp>
        <p:nvCxnSpPr>
          <p:cNvPr id="95" name="Straight Connector 94">
            <a:extLst>
              <a:ext uri="{FF2B5EF4-FFF2-40B4-BE49-F238E27FC236}">
                <a16:creationId xmlns:a16="http://schemas.microsoft.com/office/drawing/2014/main" id="{76815DFD-05CF-473B-9B0E-1D9C03BE55B6}"/>
              </a:ext>
            </a:extLst>
          </p:cNvPr>
          <p:cNvCxnSpPr/>
          <p:nvPr/>
        </p:nvCxnSpPr>
        <p:spPr>
          <a:xfrm>
            <a:off x="9578866" y="3761396"/>
            <a:ext cx="1371465" cy="0"/>
          </a:xfrm>
          <a:prstGeom prst="line">
            <a:avLst/>
          </a:prstGeom>
          <a:noFill/>
          <a:ln w="19050" cap="flat" cmpd="sng" algn="ctr">
            <a:solidFill>
              <a:schemeClr val="tx2"/>
            </a:solidFill>
            <a:prstDash val="sysDot"/>
          </a:ln>
          <a:effectLst/>
        </p:spPr>
      </p:cxnSp>
      <p:sp>
        <p:nvSpPr>
          <p:cNvPr id="96" name="Title 1">
            <a:extLst>
              <a:ext uri="{FF2B5EF4-FFF2-40B4-BE49-F238E27FC236}">
                <a16:creationId xmlns:a16="http://schemas.microsoft.com/office/drawing/2014/main" id="{B1C90A45-17C4-49DF-8668-45452CDC1B09}"/>
              </a:ext>
            </a:extLst>
          </p:cNvPr>
          <p:cNvSpPr txBox="1">
            <a:spLocks/>
          </p:cNvSpPr>
          <p:nvPr/>
        </p:nvSpPr>
        <p:spPr>
          <a:xfrm>
            <a:off x="2824755" y="1741548"/>
            <a:ext cx="2807535"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Azure IoT Hub</a:t>
            </a:r>
          </a:p>
        </p:txBody>
      </p:sp>
      <p:sp>
        <p:nvSpPr>
          <p:cNvPr id="97" name="Title 1">
            <a:extLst>
              <a:ext uri="{FF2B5EF4-FFF2-40B4-BE49-F238E27FC236}">
                <a16:creationId xmlns:a16="http://schemas.microsoft.com/office/drawing/2014/main" id="{5E3C2F7A-BAB3-46D9-B3A1-40A1B60FAE2E}"/>
              </a:ext>
            </a:extLst>
          </p:cNvPr>
          <p:cNvSpPr txBox="1">
            <a:spLocks/>
          </p:cNvSpPr>
          <p:nvPr/>
        </p:nvSpPr>
        <p:spPr>
          <a:xfrm>
            <a:off x="8867710" y="1462366"/>
            <a:ext cx="309568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Device </a:t>
            </a:r>
            <a:br>
              <a:rPr lang="en-US" sz="1800" b="0">
                <a:solidFill>
                  <a:schemeClr val="bg1"/>
                </a:solidFill>
                <a:latin typeface="Segoe UI Semilight" panose="020B0402040204020203" pitchFamily="34" charset="0"/>
                <a:cs typeface="Segoe UI Semilight" panose="020B0402040204020203" pitchFamily="34" charset="0"/>
              </a:rPr>
            </a:br>
            <a:r>
              <a:rPr lang="en-US" sz="1800" b="0">
                <a:solidFill>
                  <a:schemeClr val="bg1"/>
                </a:solidFill>
                <a:latin typeface="Segoe UI Semilight" panose="020B0402040204020203" pitchFamily="34" charset="0"/>
                <a:cs typeface="Segoe UI Semilight" panose="020B0402040204020203" pitchFamily="34" charset="0"/>
              </a:rPr>
              <a:t>Provisioning Service</a:t>
            </a:r>
          </a:p>
        </p:txBody>
      </p:sp>
      <p:cxnSp>
        <p:nvCxnSpPr>
          <p:cNvPr id="98" name="Straight Connector 97">
            <a:extLst>
              <a:ext uri="{FF2B5EF4-FFF2-40B4-BE49-F238E27FC236}">
                <a16:creationId xmlns:a16="http://schemas.microsoft.com/office/drawing/2014/main" id="{EDBC7A18-48AA-4A8B-8EC4-224ED2C31F2C}"/>
              </a:ext>
            </a:extLst>
          </p:cNvPr>
          <p:cNvCxnSpPr>
            <a:cxnSpLocks/>
          </p:cNvCxnSpPr>
          <p:nvPr/>
        </p:nvCxnSpPr>
        <p:spPr>
          <a:xfrm>
            <a:off x="8878429" y="2104437"/>
            <a:ext cx="27723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B98176F-9127-48BA-A25C-B9C7C3C661E1}"/>
              </a:ext>
            </a:extLst>
          </p:cNvPr>
          <p:cNvCxnSpPr>
            <a:cxnSpLocks/>
          </p:cNvCxnSpPr>
          <p:nvPr/>
        </p:nvCxnSpPr>
        <p:spPr>
          <a:xfrm>
            <a:off x="493953" y="2104437"/>
            <a:ext cx="7824543"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00" name="Title 1">
            <a:extLst>
              <a:ext uri="{FF2B5EF4-FFF2-40B4-BE49-F238E27FC236}">
                <a16:creationId xmlns:a16="http://schemas.microsoft.com/office/drawing/2014/main" id="{42414596-7480-4704-93E7-6F44B919D5CB}"/>
              </a:ext>
            </a:extLst>
          </p:cNvPr>
          <p:cNvSpPr txBox="1">
            <a:spLocks/>
          </p:cNvSpPr>
          <p:nvPr/>
        </p:nvSpPr>
        <p:spPr>
          <a:xfrm>
            <a:off x="444041" y="639898"/>
            <a:ext cx="11303917" cy="39754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dirty="0">
                <a:solidFill>
                  <a:schemeClr val="bg1"/>
                </a:solidFill>
              </a:rPr>
              <a:t>IoT Hub and Device Provisioning Service</a:t>
            </a:r>
          </a:p>
        </p:txBody>
      </p:sp>
      <p:sp>
        <p:nvSpPr>
          <p:cNvPr id="101" name="Shield_EA18" title="Icon of a shield">
            <a:extLst>
              <a:ext uri="{FF2B5EF4-FFF2-40B4-BE49-F238E27FC236}">
                <a16:creationId xmlns:a16="http://schemas.microsoft.com/office/drawing/2014/main" id="{A82C267A-FD2C-4062-93ED-3371FDE731EB}"/>
              </a:ext>
            </a:extLst>
          </p:cNvPr>
          <p:cNvSpPr>
            <a:spLocks noChangeAspect="1"/>
          </p:cNvSpPr>
          <p:nvPr/>
        </p:nvSpPr>
        <p:spPr bwMode="auto">
          <a:xfrm>
            <a:off x="6695585" y="2443712"/>
            <a:ext cx="343495" cy="3657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
        <p:nvSpPr>
          <p:cNvPr id="102" name="arrow_6" title="Icon of two arrows pointing in opposite direction of each other">
            <a:extLst>
              <a:ext uri="{FF2B5EF4-FFF2-40B4-BE49-F238E27FC236}">
                <a16:creationId xmlns:a16="http://schemas.microsoft.com/office/drawing/2014/main" id="{D28F15E8-D943-4E3D-8C34-C44C484AF8AC}"/>
              </a:ext>
            </a:extLst>
          </p:cNvPr>
          <p:cNvSpPr>
            <a:spLocks noChangeAspect="1" noEditPoints="1"/>
          </p:cNvSpPr>
          <p:nvPr/>
        </p:nvSpPr>
        <p:spPr bwMode="auto">
          <a:xfrm>
            <a:off x="1437022" y="2457869"/>
            <a:ext cx="389361" cy="36570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rgbClr val="0072C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sz="900">
              <a:solidFill>
                <a:schemeClr val="bg1"/>
              </a:solidFill>
              <a:latin typeface="Segoe UI"/>
            </a:endParaRPr>
          </a:p>
        </p:txBody>
      </p:sp>
      <p:sp>
        <p:nvSpPr>
          <p:cNvPr id="103" name="3D" title="Icon of a 3D box with square points on each corner">
            <a:extLst>
              <a:ext uri="{FF2B5EF4-FFF2-40B4-BE49-F238E27FC236}">
                <a16:creationId xmlns:a16="http://schemas.microsoft.com/office/drawing/2014/main" id="{D446B79F-4165-4C4E-A0A7-AF599BBCBB58}"/>
              </a:ext>
            </a:extLst>
          </p:cNvPr>
          <p:cNvSpPr>
            <a:spLocks noChangeAspect="1" noEditPoints="1"/>
          </p:cNvSpPr>
          <p:nvPr/>
        </p:nvSpPr>
        <p:spPr bwMode="auto">
          <a:xfrm>
            <a:off x="4089696" y="2452943"/>
            <a:ext cx="342011" cy="365708"/>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pic>
        <p:nvPicPr>
          <p:cNvPr id="104" name="Graphic 103">
            <a:extLst>
              <a:ext uri="{FF2B5EF4-FFF2-40B4-BE49-F238E27FC236}">
                <a16:creationId xmlns:a16="http://schemas.microsoft.com/office/drawing/2014/main" id="{29C4A099-EFC0-4A46-8330-D25DAC150A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19536" y="1741546"/>
            <a:ext cx="304757" cy="304757"/>
          </a:xfrm>
          <a:prstGeom prst="rect">
            <a:avLst/>
          </a:prstGeom>
        </p:spPr>
      </p:pic>
      <p:pic>
        <p:nvPicPr>
          <p:cNvPr id="105" name="Picture 104">
            <a:extLst>
              <a:ext uri="{FF2B5EF4-FFF2-40B4-BE49-F238E27FC236}">
                <a16:creationId xmlns:a16="http://schemas.microsoft.com/office/drawing/2014/main" id="{0F09DF1C-2FCB-4868-9126-03C29D01E7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8428" y="1639986"/>
            <a:ext cx="373189" cy="370298"/>
          </a:xfrm>
          <a:prstGeom prst="rect">
            <a:avLst/>
          </a:prstGeom>
          <a:noFill/>
          <a:ln>
            <a:noFill/>
          </a:ln>
        </p:spPr>
      </p:pic>
      <p:sp>
        <p:nvSpPr>
          <p:cNvPr id="109" name="box" title="Icon of a box">
            <a:extLst>
              <a:ext uri="{FF2B5EF4-FFF2-40B4-BE49-F238E27FC236}">
                <a16:creationId xmlns:a16="http://schemas.microsoft.com/office/drawing/2014/main" id="{749C6973-9DBE-493A-9602-EB100E2AE3DA}"/>
              </a:ext>
            </a:extLst>
          </p:cNvPr>
          <p:cNvSpPr>
            <a:spLocks noChangeAspect="1" noEditPoints="1"/>
          </p:cNvSpPr>
          <p:nvPr/>
        </p:nvSpPr>
        <p:spPr bwMode="auto">
          <a:xfrm>
            <a:off x="10080757" y="2447202"/>
            <a:ext cx="362264" cy="36570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5875" cap="flat">
            <a:solidFill>
              <a:srgbClr val="0072C6"/>
            </a:solid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Tree>
    <p:extLst>
      <p:ext uri="{BB962C8B-B14F-4D97-AF65-F5344CB8AC3E}">
        <p14:creationId xmlns:p14="http://schemas.microsoft.com/office/powerpoint/2010/main" val="3162983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2"/>
                                        </p:tgtEl>
                                        <p:attrNameLst>
                                          <p:attrName>style.visibility</p:attrName>
                                        </p:attrNameLst>
                                      </p:cBhvr>
                                      <p:to>
                                        <p:strVal val="visible"/>
                                      </p:to>
                                    </p:set>
                                    <p:anim calcmode="lin" valueType="num">
                                      <p:cBhvr additive="base">
                                        <p:cTn id="11" dur="500" fill="hold"/>
                                        <p:tgtEl>
                                          <p:spTgt spid="102"/>
                                        </p:tgtEl>
                                        <p:attrNameLst>
                                          <p:attrName>ppt_x</p:attrName>
                                        </p:attrNameLst>
                                      </p:cBhvr>
                                      <p:tavLst>
                                        <p:tav tm="0">
                                          <p:val>
                                            <p:strVal val="#ppt_x"/>
                                          </p:val>
                                        </p:tav>
                                        <p:tav tm="100000">
                                          <p:val>
                                            <p:strVal val="#ppt_x"/>
                                          </p:val>
                                        </p:tav>
                                      </p:tavLst>
                                    </p:anim>
                                    <p:anim calcmode="lin" valueType="num">
                                      <p:cBhvr additive="base">
                                        <p:cTn id="12" dur="500" fill="hold"/>
                                        <p:tgtEl>
                                          <p:spTgt spid="10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2"/>
                                        </p:tgtEl>
                                        <p:attrNameLst>
                                          <p:attrName>style.visibility</p:attrName>
                                        </p:attrNameLst>
                                      </p:cBhvr>
                                      <p:to>
                                        <p:strVal val="visible"/>
                                      </p:to>
                                    </p:set>
                                    <p:anim calcmode="lin" valueType="num">
                                      <p:cBhvr additive="base">
                                        <p:cTn id="15" dur="500" fill="hold"/>
                                        <p:tgtEl>
                                          <p:spTgt spid="92"/>
                                        </p:tgtEl>
                                        <p:attrNameLst>
                                          <p:attrName>ppt_x</p:attrName>
                                        </p:attrNameLst>
                                      </p:cBhvr>
                                      <p:tavLst>
                                        <p:tav tm="0">
                                          <p:val>
                                            <p:strVal val="#ppt_x"/>
                                          </p:val>
                                        </p:tav>
                                        <p:tav tm="100000">
                                          <p:val>
                                            <p:strVal val="#ppt_x"/>
                                          </p:val>
                                        </p:tav>
                                      </p:tavLst>
                                    </p:anim>
                                    <p:anim calcmode="lin" valueType="num">
                                      <p:cBhvr additive="base">
                                        <p:cTn id="16" dur="500" fill="hold"/>
                                        <p:tgtEl>
                                          <p:spTgt spid="9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 calcmode="lin" valueType="num">
                                      <p:cBhvr additive="base">
                                        <p:cTn id="19" dur="500" fill="hold"/>
                                        <p:tgtEl>
                                          <p:spTgt spid="91"/>
                                        </p:tgtEl>
                                        <p:attrNameLst>
                                          <p:attrName>ppt_x</p:attrName>
                                        </p:attrNameLst>
                                      </p:cBhvr>
                                      <p:tavLst>
                                        <p:tav tm="0">
                                          <p:val>
                                            <p:strVal val="#ppt_x"/>
                                          </p:val>
                                        </p:tav>
                                        <p:tav tm="100000">
                                          <p:val>
                                            <p:strVal val="#ppt_x"/>
                                          </p:val>
                                        </p:tav>
                                      </p:tavLst>
                                    </p:anim>
                                    <p:anim calcmode="lin" valueType="num">
                                      <p:cBhvr additive="base">
                                        <p:cTn id="2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3"/>
                                        </p:tgtEl>
                                        <p:attrNameLst>
                                          <p:attrName>style.visibility</p:attrName>
                                        </p:attrNameLst>
                                      </p:cBhvr>
                                      <p:to>
                                        <p:strVal val="visible"/>
                                      </p:to>
                                    </p:set>
                                    <p:anim calcmode="lin" valueType="num">
                                      <p:cBhvr additive="base">
                                        <p:cTn id="25" dur="500" fill="hold"/>
                                        <p:tgtEl>
                                          <p:spTgt spid="103"/>
                                        </p:tgtEl>
                                        <p:attrNameLst>
                                          <p:attrName>ppt_x</p:attrName>
                                        </p:attrNameLst>
                                      </p:cBhvr>
                                      <p:tavLst>
                                        <p:tav tm="0">
                                          <p:val>
                                            <p:strVal val="#ppt_x"/>
                                          </p:val>
                                        </p:tav>
                                        <p:tav tm="100000">
                                          <p:val>
                                            <p:strVal val="#ppt_x"/>
                                          </p:val>
                                        </p:tav>
                                      </p:tavLst>
                                    </p:anim>
                                    <p:anim calcmode="lin" valueType="num">
                                      <p:cBhvr additive="base">
                                        <p:cTn id="26" dur="500" fill="hold"/>
                                        <p:tgtEl>
                                          <p:spTgt spid="10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84"/>
                                        </p:tgtEl>
                                        <p:attrNameLst>
                                          <p:attrName>style.visibility</p:attrName>
                                        </p:attrNameLst>
                                      </p:cBhvr>
                                      <p:to>
                                        <p:strVal val="visible"/>
                                      </p:to>
                                    </p:set>
                                    <p:anim calcmode="lin" valueType="num">
                                      <p:cBhvr additive="base">
                                        <p:cTn id="29" dur="500" fill="hold"/>
                                        <p:tgtEl>
                                          <p:spTgt spid="84"/>
                                        </p:tgtEl>
                                        <p:attrNameLst>
                                          <p:attrName>ppt_x</p:attrName>
                                        </p:attrNameLst>
                                      </p:cBhvr>
                                      <p:tavLst>
                                        <p:tav tm="0">
                                          <p:val>
                                            <p:strVal val="#ppt_x"/>
                                          </p:val>
                                        </p:tav>
                                        <p:tav tm="100000">
                                          <p:val>
                                            <p:strVal val="#ppt_x"/>
                                          </p:val>
                                        </p:tav>
                                      </p:tavLst>
                                    </p:anim>
                                    <p:anim calcmode="lin" valueType="num">
                                      <p:cBhvr additive="base">
                                        <p:cTn id="30" dur="500" fill="hold"/>
                                        <p:tgtEl>
                                          <p:spTgt spid="84"/>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86"/>
                                        </p:tgtEl>
                                        <p:attrNameLst>
                                          <p:attrName>style.visibility</p:attrName>
                                        </p:attrNameLst>
                                      </p:cBhvr>
                                      <p:to>
                                        <p:strVal val="visible"/>
                                      </p:to>
                                    </p:set>
                                    <p:anim calcmode="lin" valueType="num">
                                      <p:cBhvr additive="base">
                                        <p:cTn id="33" dur="500" fill="hold"/>
                                        <p:tgtEl>
                                          <p:spTgt spid="86"/>
                                        </p:tgtEl>
                                        <p:attrNameLst>
                                          <p:attrName>ppt_x</p:attrName>
                                        </p:attrNameLst>
                                      </p:cBhvr>
                                      <p:tavLst>
                                        <p:tav tm="0">
                                          <p:val>
                                            <p:strVal val="#ppt_x"/>
                                          </p:val>
                                        </p:tav>
                                        <p:tav tm="100000">
                                          <p:val>
                                            <p:strVal val="#ppt_x"/>
                                          </p:val>
                                        </p:tav>
                                      </p:tavLst>
                                    </p:anim>
                                    <p:anim calcmode="lin" valueType="num">
                                      <p:cBhvr additive="base">
                                        <p:cTn id="34" dur="500" fill="hold"/>
                                        <p:tgtEl>
                                          <p:spTgt spid="8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500" fill="hold"/>
                                        <p:tgtEl>
                                          <p:spTgt spid="85"/>
                                        </p:tgtEl>
                                        <p:attrNameLst>
                                          <p:attrName>ppt_x</p:attrName>
                                        </p:attrNameLst>
                                      </p:cBhvr>
                                      <p:tavLst>
                                        <p:tav tm="0">
                                          <p:val>
                                            <p:strVal val="#ppt_x"/>
                                          </p:val>
                                        </p:tav>
                                        <p:tav tm="100000">
                                          <p:val>
                                            <p:strVal val="#ppt_x"/>
                                          </p:val>
                                        </p:tav>
                                      </p:tavLst>
                                    </p:anim>
                                    <p:anim calcmode="lin" valueType="num">
                                      <p:cBhvr additive="base">
                                        <p:cTn id="38"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01"/>
                                        </p:tgtEl>
                                        <p:attrNameLst>
                                          <p:attrName>style.visibility</p:attrName>
                                        </p:attrNameLst>
                                      </p:cBhvr>
                                      <p:to>
                                        <p:strVal val="visible"/>
                                      </p:to>
                                    </p:set>
                                    <p:anim calcmode="lin" valueType="num">
                                      <p:cBhvr additive="base">
                                        <p:cTn id="43" dur="500" fill="hold"/>
                                        <p:tgtEl>
                                          <p:spTgt spid="101"/>
                                        </p:tgtEl>
                                        <p:attrNameLst>
                                          <p:attrName>ppt_x</p:attrName>
                                        </p:attrNameLst>
                                      </p:cBhvr>
                                      <p:tavLst>
                                        <p:tav tm="0">
                                          <p:val>
                                            <p:strVal val="#ppt_x"/>
                                          </p:val>
                                        </p:tav>
                                        <p:tav tm="100000">
                                          <p:val>
                                            <p:strVal val="#ppt_x"/>
                                          </p:val>
                                        </p:tav>
                                      </p:tavLst>
                                    </p:anim>
                                    <p:anim calcmode="lin" valueType="num">
                                      <p:cBhvr additive="base">
                                        <p:cTn id="44" dur="500" fill="hold"/>
                                        <p:tgtEl>
                                          <p:spTgt spid="10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anim calcmode="lin" valueType="num">
                                      <p:cBhvr additive="base">
                                        <p:cTn id="47" dur="500" fill="hold"/>
                                        <p:tgtEl>
                                          <p:spTgt spid="87"/>
                                        </p:tgtEl>
                                        <p:attrNameLst>
                                          <p:attrName>ppt_x</p:attrName>
                                        </p:attrNameLst>
                                      </p:cBhvr>
                                      <p:tavLst>
                                        <p:tav tm="0">
                                          <p:val>
                                            <p:strVal val="#ppt_x"/>
                                          </p:val>
                                        </p:tav>
                                        <p:tav tm="100000">
                                          <p:val>
                                            <p:strVal val="#ppt_x"/>
                                          </p:val>
                                        </p:tav>
                                      </p:tavLst>
                                    </p:anim>
                                    <p:anim calcmode="lin" valueType="num">
                                      <p:cBhvr additive="base">
                                        <p:cTn id="48" dur="500" fill="hold"/>
                                        <p:tgtEl>
                                          <p:spTgt spid="8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89"/>
                                        </p:tgtEl>
                                        <p:attrNameLst>
                                          <p:attrName>style.visibility</p:attrName>
                                        </p:attrNameLst>
                                      </p:cBhvr>
                                      <p:to>
                                        <p:strVal val="visible"/>
                                      </p:to>
                                    </p:set>
                                    <p:anim calcmode="lin" valueType="num">
                                      <p:cBhvr additive="base">
                                        <p:cTn id="51" dur="500" fill="hold"/>
                                        <p:tgtEl>
                                          <p:spTgt spid="89"/>
                                        </p:tgtEl>
                                        <p:attrNameLst>
                                          <p:attrName>ppt_x</p:attrName>
                                        </p:attrNameLst>
                                      </p:cBhvr>
                                      <p:tavLst>
                                        <p:tav tm="0">
                                          <p:val>
                                            <p:strVal val="#ppt_x"/>
                                          </p:val>
                                        </p:tav>
                                        <p:tav tm="100000">
                                          <p:val>
                                            <p:strVal val="#ppt_x"/>
                                          </p:val>
                                        </p:tav>
                                      </p:tavLst>
                                    </p:anim>
                                    <p:anim calcmode="lin" valueType="num">
                                      <p:cBhvr additive="base">
                                        <p:cTn id="52" dur="500" fill="hold"/>
                                        <p:tgtEl>
                                          <p:spTgt spid="89"/>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88"/>
                                        </p:tgtEl>
                                        <p:attrNameLst>
                                          <p:attrName>style.visibility</p:attrName>
                                        </p:attrNameLst>
                                      </p:cBhvr>
                                      <p:to>
                                        <p:strVal val="visible"/>
                                      </p:to>
                                    </p:set>
                                    <p:anim calcmode="lin" valueType="num">
                                      <p:cBhvr additive="base">
                                        <p:cTn id="55" dur="500" fill="hold"/>
                                        <p:tgtEl>
                                          <p:spTgt spid="88"/>
                                        </p:tgtEl>
                                        <p:attrNameLst>
                                          <p:attrName>ppt_x</p:attrName>
                                        </p:attrNameLst>
                                      </p:cBhvr>
                                      <p:tavLst>
                                        <p:tav tm="0">
                                          <p:val>
                                            <p:strVal val="#ppt_x"/>
                                          </p:val>
                                        </p:tav>
                                        <p:tav tm="100000">
                                          <p:val>
                                            <p:strVal val="#ppt_x"/>
                                          </p:val>
                                        </p:tav>
                                      </p:tavLst>
                                    </p:anim>
                                    <p:anim calcmode="lin" valueType="num">
                                      <p:cBhvr additive="base">
                                        <p:cTn id="5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09"/>
                                        </p:tgtEl>
                                        <p:attrNameLst>
                                          <p:attrName>style.visibility</p:attrName>
                                        </p:attrNameLst>
                                      </p:cBhvr>
                                      <p:to>
                                        <p:strVal val="visible"/>
                                      </p:to>
                                    </p:set>
                                    <p:anim calcmode="lin" valueType="num">
                                      <p:cBhvr additive="base">
                                        <p:cTn id="61" dur="500" fill="hold"/>
                                        <p:tgtEl>
                                          <p:spTgt spid="109"/>
                                        </p:tgtEl>
                                        <p:attrNameLst>
                                          <p:attrName>ppt_x</p:attrName>
                                        </p:attrNameLst>
                                      </p:cBhvr>
                                      <p:tavLst>
                                        <p:tav tm="0">
                                          <p:val>
                                            <p:strVal val="#ppt_x"/>
                                          </p:val>
                                        </p:tav>
                                        <p:tav tm="100000">
                                          <p:val>
                                            <p:strVal val="#ppt_x"/>
                                          </p:val>
                                        </p:tav>
                                      </p:tavLst>
                                    </p:anim>
                                    <p:anim calcmode="lin" valueType="num">
                                      <p:cBhvr additive="base">
                                        <p:cTn id="62" dur="500" fill="hold"/>
                                        <p:tgtEl>
                                          <p:spTgt spid="10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93"/>
                                        </p:tgtEl>
                                        <p:attrNameLst>
                                          <p:attrName>style.visibility</p:attrName>
                                        </p:attrNameLst>
                                      </p:cBhvr>
                                      <p:to>
                                        <p:strVal val="visible"/>
                                      </p:to>
                                    </p:set>
                                    <p:anim calcmode="lin" valueType="num">
                                      <p:cBhvr additive="base">
                                        <p:cTn id="65" dur="500" fill="hold"/>
                                        <p:tgtEl>
                                          <p:spTgt spid="93"/>
                                        </p:tgtEl>
                                        <p:attrNameLst>
                                          <p:attrName>ppt_x</p:attrName>
                                        </p:attrNameLst>
                                      </p:cBhvr>
                                      <p:tavLst>
                                        <p:tav tm="0">
                                          <p:val>
                                            <p:strVal val="#ppt_x"/>
                                          </p:val>
                                        </p:tav>
                                        <p:tav tm="100000">
                                          <p:val>
                                            <p:strVal val="#ppt_x"/>
                                          </p:val>
                                        </p:tav>
                                      </p:tavLst>
                                    </p:anim>
                                    <p:anim calcmode="lin" valueType="num">
                                      <p:cBhvr additive="base">
                                        <p:cTn id="66" dur="500" fill="hold"/>
                                        <p:tgtEl>
                                          <p:spTgt spid="9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 calcmode="lin" valueType="num">
                                      <p:cBhvr additive="base">
                                        <p:cTn id="69" dur="500" fill="hold"/>
                                        <p:tgtEl>
                                          <p:spTgt spid="94"/>
                                        </p:tgtEl>
                                        <p:attrNameLst>
                                          <p:attrName>ppt_x</p:attrName>
                                        </p:attrNameLst>
                                      </p:cBhvr>
                                      <p:tavLst>
                                        <p:tav tm="0">
                                          <p:val>
                                            <p:strVal val="#ppt_x"/>
                                          </p:val>
                                        </p:tav>
                                        <p:tav tm="100000">
                                          <p:val>
                                            <p:strVal val="#ppt_x"/>
                                          </p:val>
                                        </p:tav>
                                      </p:tavLst>
                                    </p:anim>
                                    <p:anim calcmode="lin" valueType="num">
                                      <p:cBhvr additive="base">
                                        <p:cTn id="70" dur="500" fill="hold"/>
                                        <p:tgtEl>
                                          <p:spTgt spid="94"/>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additive="base">
                                        <p:cTn id="73" dur="500" fill="hold"/>
                                        <p:tgtEl>
                                          <p:spTgt spid="95"/>
                                        </p:tgtEl>
                                        <p:attrNameLst>
                                          <p:attrName>ppt_x</p:attrName>
                                        </p:attrNameLst>
                                      </p:cBhvr>
                                      <p:tavLst>
                                        <p:tav tm="0">
                                          <p:val>
                                            <p:strVal val="#ppt_x"/>
                                          </p:val>
                                        </p:tav>
                                        <p:tav tm="100000">
                                          <p:val>
                                            <p:strVal val="#ppt_x"/>
                                          </p:val>
                                        </p:tav>
                                      </p:tavLst>
                                    </p:anim>
                                    <p:anim calcmode="lin" valueType="num">
                                      <p:cBhvr additive="base">
                                        <p:cTn id="7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P spid="85" grpId="0"/>
      <p:bldP spid="87" grpId="0"/>
      <p:bldP spid="88" grpId="0"/>
      <p:bldP spid="90" grpId="0"/>
      <p:bldP spid="91" grpId="0"/>
      <p:bldP spid="93" grpId="0"/>
      <p:bldP spid="94" grpId="0"/>
      <p:bldP spid="101" grpId="0" animBg="1"/>
      <p:bldP spid="102" grpId="0" animBg="1"/>
      <p:bldP spid="103" grpId="0" animBg="1"/>
      <p:bldP spid="10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581C6455-EAAA-423E-B1A5-7DC597DEB662}"/>
              </a:ext>
            </a:extLst>
          </p:cNvPr>
          <p:cNvSpPr/>
          <p:nvPr/>
        </p:nvSpPr>
        <p:spPr bwMode="auto">
          <a:xfrm>
            <a:off x="691060" y="2059824"/>
            <a:ext cx="2335621" cy="913132"/>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cloud"/>
          <p:cNvSpPr>
            <a:spLocks noChangeAspect="1"/>
          </p:cNvSpPr>
          <p:nvPr/>
        </p:nvSpPr>
        <p:spPr bwMode="black">
          <a:xfrm>
            <a:off x="2732315" y="1541877"/>
            <a:ext cx="8905582" cy="46004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822610" rtlCol="0" anchor="ctr"/>
          <a:lstStyle/>
          <a:p>
            <a:pPr marL="0" marR="0" lvl="0" indent="0" algn="ctr" defTabSz="913874"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74" name="Rectangle 73"/>
          <p:cNvSpPr/>
          <p:nvPr/>
        </p:nvSpPr>
        <p:spPr bwMode="auto">
          <a:xfrm>
            <a:off x="9276866" y="1922867"/>
            <a:ext cx="2324187" cy="172042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394741" y="2903892"/>
            <a:ext cx="763904" cy="785820"/>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grpSp>
      <p:sp>
        <p:nvSpPr>
          <p:cNvPr id="3" name="Rectangle 2"/>
          <p:cNvSpPr/>
          <p:nvPr/>
        </p:nvSpPr>
        <p:spPr>
          <a:xfrm>
            <a:off x="9607067" y="2716800"/>
            <a:ext cx="700926" cy="253611"/>
          </a:xfrm>
          <a:prstGeom prst="rect">
            <a:avLst/>
          </a:prstGeom>
        </p:spPr>
        <p:txBody>
          <a:bodyPr wrap="square">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 BI</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151" name="Rectangle 150"/>
          <p:cNvSpPr/>
          <p:nvPr/>
        </p:nvSpPr>
        <p:spPr>
          <a:xfrm>
            <a:off x="9471094" y="3409606"/>
            <a:ext cx="999247"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Apps</a:t>
            </a:r>
          </a:p>
        </p:txBody>
      </p:sp>
      <p:sp>
        <p:nvSpPr>
          <p:cNvPr id="166" name="Rectangle 165"/>
          <p:cNvSpPr/>
          <p:nvPr/>
        </p:nvSpPr>
        <p:spPr>
          <a:xfrm>
            <a:off x="10565966" y="3409606"/>
            <a:ext cx="807297"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Web Apps</a:t>
            </a:r>
          </a:p>
        </p:txBody>
      </p:sp>
      <p:sp>
        <p:nvSpPr>
          <p:cNvPr id="167" name="Rectangle 166"/>
          <p:cNvSpPr/>
          <p:nvPr/>
        </p:nvSpPr>
        <p:spPr>
          <a:xfrm>
            <a:off x="10419132" y="2766593"/>
            <a:ext cx="1064179"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obile Apps</a:t>
            </a:r>
          </a:p>
        </p:txBody>
      </p:sp>
      <p:sp>
        <p:nvSpPr>
          <p:cNvPr id="164" name="Rectangle 163"/>
          <p:cNvSpPr/>
          <p:nvPr/>
        </p:nvSpPr>
        <p:spPr>
          <a:xfrm>
            <a:off x="9351084" y="1935295"/>
            <a:ext cx="2245218" cy="466490"/>
          </a:xfrm>
          <a:prstGeom prst="rect">
            <a:avLst/>
          </a:prstGeom>
        </p:spPr>
        <p:txBody>
          <a:bodyPr wrap="square">
            <a:spAutoFit/>
          </a:bodyPr>
          <a:lstStyle/>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Manage</a:t>
            </a:r>
          </a:p>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a:ea typeface="+mn-ea"/>
                <a:cs typeface="+mn-cs"/>
              </a:rPr>
              <a:t>View and manage solutions</a:t>
            </a:r>
          </a:p>
        </p:txBody>
      </p:sp>
      <p:sp>
        <p:nvSpPr>
          <p:cNvPr id="183" name="Rectangle 182">
            <a:extLst>
              <a:ext uri="{FF2B5EF4-FFF2-40B4-BE49-F238E27FC236}">
                <a16:creationId xmlns:a16="http://schemas.microsoft.com/office/drawing/2014/main" id="{54A6F7DA-8B8E-4D0C-B1AF-2072ED15DF9D}"/>
              </a:ext>
            </a:extLst>
          </p:cNvPr>
          <p:cNvSpPr/>
          <p:nvPr/>
        </p:nvSpPr>
        <p:spPr bwMode="auto">
          <a:xfrm>
            <a:off x="706763" y="4984575"/>
            <a:ext cx="2312743" cy="106539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01" rIns="0" bIns="91375" numCol="1" spcCol="0" rtlCol="0" fromWordArt="0" anchor="b" anchorCtr="0" forceAA="0" compatLnSpc="1">
            <a:prstTxWarp prst="textNoShape">
              <a:avLst/>
            </a:prstTxWarp>
            <a:no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phere</a:t>
            </a:r>
          </a:p>
        </p:txBody>
      </p:sp>
      <p:cxnSp>
        <p:nvCxnSpPr>
          <p:cNvPr id="148" name="2 Arrow">
            <a:extLst>
              <a:ext uri="{FF2B5EF4-FFF2-40B4-BE49-F238E27FC236}">
                <a16:creationId xmlns:a16="http://schemas.microsoft.com/office/drawing/2014/main" id="{34ABF04A-E2D6-4859-B2F2-9032F1DC0AC0}"/>
              </a:ext>
            </a:extLst>
          </p:cNvPr>
          <p:cNvCxnSpPr>
            <a:cxnSpLocks/>
            <a:stCxn id="9220" idx="3"/>
            <a:endCxn id="158" idx="2"/>
          </p:cNvCxnSpPr>
          <p:nvPr/>
        </p:nvCxnSpPr>
        <p:spPr>
          <a:xfrm>
            <a:off x="1294565" y="5456470"/>
            <a:ext cx="441334" cy="909"/>
          </a:xfrm>
          <a:prstGeom prst="straightConnector1">
            <a:avLst/>
          </a:prstGeom>
          <a:ln w="317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Image result for Azure Sphere logo">
            <a:extLst>
              <a:ext uri="{FF2B5EF4-FFF2-40B4-BE49-F238E27FC236}">
                <a16:creationId xmlns:a16="http://schemas.microsoft.com/office/drawing/2014/main" id="{06763744-A87F-40D5-9D28-6F1EECF12C2A}"/>
              </a:ext>
            </a:extLst>
          </p:cNvPr>
          <p:cNvPicPr>
            <a:picLocks noChangeAspect="1" noChangeArrowheads="1"/>
          </p:cNvPicPr>
          <p:nvPr/>
        </p:nvPicPr>
        <p:blipFill rotWithShape="1">
          <a:blip r:embed="rId3" cstate="print">
            <a:duotone>
              <a:prstClr val="black"/>
              <a:srgbClr val="D9C3A5">
                <a:tint val="50000"/>
                <a:satMod val="180000"/>
              </a:srgbClr>
            </a:duotone>
            <a:extLst>
              <a:ext uri="{28A0092B-C50C-407E-A947-70E740481C1C}">
                <a14:useLocalDpi xmlns:a14="http://schemas.microsoft.com/office/drawing/2010/main" val="0"/>
              </a:ext>
            </a:extLst>
          </a:blip>
          <a:srcRect l="20166" t="58207" r="63528" b="16896"/>
          <a:stretch/>
        </p:blipFill>
        <p:spPr bwMode="auto">
          <a:xfrm>
            <a:off x="1031032" y="5323908"/>
            <a:ext cx="263533" cy="265123"/>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descr="Image result for Azure Sphere logo">
            <a:extLst>
              <a:ext uri="{FF2B5EF4-FFF2-40B4-BE49-F238E27FC236}">
                <a16:creationId xmlns:a16="http://schemas.microsoft.com/office/drawing/2014/main" id="{C435FEFC-C68F-4E29-8D60-71CDE4E91F7C}"/>
              </a:ext>
            </a:extLst>
          </p:cNvPr>
          <p:cNvPicPr>
            <a:picLocks noChangeAspect="1" noChangeArrowheads="1"/>
          </p:cNvPicPr>
          <p:nvPr/>
        </p:nvPicPr>
        <p:blipFill rotWithShape="1">
          <a:blip r:embed="rId4" cstate="print">
            <a:duotone>
              <a:prstClr val="black"/>
              <a:srgbClr val="D9C3A5">
                <a:tint val="50000"/>
                <a:satMod val="180000"/>
              </a:srgbClr>
            </a:duotone>
            <a:extLst>
              <a:ext uri="{28A0092B-C50C-407E-A947-70E740481C1C}">
                <a14:useLocalDpi xmlns:a14="http://schemas.microsoft.com/office/drawing/2010/main" val="0"/>
              </a:ext>
            </a:extLst>
          </a:blip>
          <a:srcRect l="64216" t="57031" r="17628" b="15600"/>
          <a:stretch/>
        </p:blipFill>
        <p:spPr bwMode="auto">
          <a:xfrm>
            <a:off x="1735899" y="5319515"/>
            <a:ext cx="277656" cy="275727"/>
          </a:xfrm>
          <a:prstGeom prst="ellipse">
            <a:avLst/>
          </a:prstGeom>
          <a:noFill/>
          <a:extLst>
            <a:ext uri="{909E8E84-426E-40DD-AFC4-6F175D3DCCD1}">
              <a14:hiddenFill xmlns:a14="http://schemas.microsoft.com/office/drawing/2010/main">
                <a:solidFill>
                  <a:srgbClr val="FFFFFF"/>
                </a:solidFill>
              </a14:hiddenFill>
            </a:ext>
          </a:extLst>
        </p:spPr>
      </p:pic>
      <p:cxnSp>
        <p:nvCxnSpPr>
          <p:cNvPr id="171" name="2 Arrow">
            <a:extLst>
              <a:ext uri="{FF2B5EF4-FFF2-40B4-BE49-F238E27FC236}">
                <a16:creationId xmlns:a16="http://schemas.microsoft.com/office/drawing/2014/main" id="{01E594EB-7C9A-4CCD-9556-428836EB4FB4}"/>
              </a:ext>
            </a:extLst>
          </p:cNvPr>
          <p:cNvCxnSpPr>
            <a:cxnSpLocks/>
            <a:stCxn id="158" idx="6"/>
            <a:endCxn id="9234" idx="1"/>
          </p:cNvCxnSpPr>
          <p:nvPr/>
        </p:nvCxnSpPr>
        <p:spPr>
          <a:xfrm>
            <a:off x="2013555" y="5457379"/>
            <a:ext cx="474524" cy="3216"/>
          </a:xfrm>
          <a:prstGeom prst="straightConnector1">
            <a:avLst/>
          </a:prstGeom>
          <a:ln w="317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EAD382E-2ECD-42FE-B651-3378CD53DA58}"/>
              </a:ext>
            </a:extLst>
          </p:cNvPr>
          <p:cNvSpPr txBox="1"/>
          <p:nvPr/>
        </p:nvSpPr>
        <p:spPr>
          <a:xfrm>
            <a:off x="783269" y="5621605"/>
            <a:ext cx="742464"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Secured MCU</a:t>
            </a:r>
          </a:p>
        </p:txBody>
      </p:sp>
      <p:sp>
        <p:nvSpPr>
          <p:cNvPr id="132" name="Rectangle 131">
            <a:extLst>
              <a:ext uri="{FF2B5EF4-FFF2-40B4-BE49-F238E27FC236}">
                <a16:creationId xmlns:a16="http://schemas.microsoft.com/office/drawing/2014/main" id="{E4D8D7AD-94E8-4B58-B2F7-BDBE2DA5F9E8}"/>
              </a:ext>
            </a:extLst>
          </p:cNvPr>
          <p:cNvSpPr/>
          <p:nvPr/>
        </p:nvSpPr>
        <p:spPr bwMode="auto">
          <a:xfrm>
            <a:off x="9283065" y="4118775"/>
            <a:ext cx="2324187" cy="1439462"/>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TextBox 171">
            <a:extLst>
              <a:ext uri="{FF2B5EF4-FFF2-40B4-BE49-F238E27FC236}">
                <a16:creationId xmlns:a16="http://schemas.microsoft.com/office/drawing/2014/main" id="{A74ED67D-0EAF-41C5-9BA4-072225AAC444}"/>
              </a:ext>
            </a:extLst>
          </p:cNvPr>
          <p:cNvSpPr txBox="1"/>
          <p:nvPr/>
        </p:nvSpPr>
        <p:spPr>
          <a:xfrm>
            <a:off x="1525001" y="5621605"/>
            <a:ext cx="689065"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Secured OS</a:t>
            </a:r>
          </a:p>
        </p:txBody>
      </p:sp>
      <p:sp>
        <p:nvSpPr>
          <p:cNvPr id="173" name="TextBox 172">
            <a:extLst>
              <a:ext uri="{FF2B5EF4-FFF2-40B4-BE49-F238E27FC236}">
                <a16:creationId xmlns:a16="http://schemas.microsoft.com/office/drawing/2014/main" id="{B66E424D-44E5-44D2-9DB0-FC7B9AD11E85}"/>
              </a:ext>
            </a:extLst>
          </p:cNvPr>
          <p:cNvSpPr txBox="1"/>
          <p:nvPr/>
        </p:nvSpPr>
        <p:spPr>
          <a:xfrm>
            <a:off x="2145887" y="5621605"/>
            <a:ext cx="964266"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Cloud Security</a:t>
            </a:r>
          </a:p>
        </p:txBody>
      </p:sp>
      <p:pic>
        <p:nvPicPr>
          <p:cNvPr id="9234" name="Picture 6" descr="https://azurecomcdn.azureedge.net/mediahandler/acomblog/media/Default/blog/bd5000d5-6cba-45c7-9d88-d081731c0989.png">
            <a:extLst>
              <a:ext uri="{FF2B5EF4-FFF2-40B4-BE49-F238E27FC236}">
                <a16:creationId xmlns:a16="http://schemas.microsoft.com/office/drawing/2014/main" id="{77840F2A-3195-4028-A2DD-BD8C2EEDED3B}"/>
              </a:ext>
            </a:extLst>
          </p:cNvPr>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l="42184" t="7472" r="40288" b="61275"/>
          <a:stretch/>
        </p:blipFill>
        <p:spPr bwMode="auto">
          <a:xfrm>
            <a:off x="2488079" y="5315581"/>
            <a:ext cx="247021" cy="290027"/>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Web Apps Logo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81407" y="3063997"/>
            <a:ext cx="582971" cy="30606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94242" y="2417812"/>
            <a:ext cx="328636" cy="328636"/>
          </a:xfrm>
          <a:prstGeom prst="rect">
            <a:avLst/>
          </a:prstGeom>
        </p:spPr>
      </p:pic>
      <p:sp>
        <p:nvSpPr>
          <p:cNvPr id="87" name="Rectangle 86"/>
          <p:cNvSpPr/>
          <p:nvPr/>
        </p:nvSpPr>
        <p:spPr>
          <a:xfrm>
            <a:off x="9192791" y="4173810"/>
            <a:ext cx="2469740" cy="466556"/>
          </a:xfrm>
          <a:prstGeom prst="rect">
            <a:avLst/>
          </a:prstGeom>
        </p:spPr>
        <p:txBody>
          <a:bodyPr wrap="square">
            <a:spAutoFit/>
          </a:bodyPr>
          <a:lstStyle/>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Business Integration</a:t>
            </a:r>
          </a:p>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a:ea typeface="+mn-ea"/>
                <a:cs typeface="+mn-cs"/>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895085" y="4960918"/>
            <a:ext cx="1129513" cy="28607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685539" y="4667578"/>
            <a:ext cx="1454802" cy="286232"/>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ynamics 365</a:t>
            </a:r>
          </a:p>
        </p:txBody>
      </p: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85539" y="2291282"/>
            <a:ext cx="572958" cy="572958"/>
          </a:xfrm>
          <a:prstGeom prst="rect">
            <a:avLst/>
          </a:prstGeom>
        </p:spPr>
      </p:pic>
      <p:cxnSp>
        <p:nvCxnSpPr>
          <p:cNvPr id="128" name="2 Arrow">
            <a:extLst>
              <a:ext uri="{FF2B5EF4-FFF2-40B4-BE49-F238E27FC236}">
                <a16:creationId xmlns:a16="http://schemas.microsoft.com/office/drawing/2014/main" id="{B9A264F2-14BA-4FAF-83F8-40E41B110E63}"/>
              </a:ext>
            </a:extLst>
          </p:cNvPr>
          <p:cNvCxnSpPr>
            <a:cxnSpLocks/>
            <a:stCxn id="183" idx="0"/>
            <a:endCxn id="124" idx="2"/>
          </p:cNvCxnSpPr>
          <p:nvPr/>
        </p:nvCxnSpPr>
        <p:spPr>
          <a:xfrm flipH="1" flipV="1">
            <a:off x="1852875" y="4718602"/>
            <a:ext cx="10260" cy="265973"/>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12E254B-2FF4-49CF-9C73-FB3637AEA62C}"/>
              </a:ext>
            </a:extLst>
          </p:cNvPr>
          <p:cNvGrpSpPr/>
          <p:nvPr/>
        </p:nvGrpSpPr>
        <p:grpSpPr>
          <a:xfrm>
            <a:off x="689717" y="3253163"/>
            <a:ext cx="2416207" cy="1465439"/>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01" rIns="0" bIns="91375" numCol="1" spcCol="0" rtlCol="0" fromWordArt="0" anchor="b" anchorCtr="0" forceAA="0" compatLnSpc="1">
              <a:prstTxWarp prst="textNoShape">
                <a:avLst/>
              </a:prstTxWarp>
              <a:no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endPar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2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200"/>
                </a:spcAft>
                <a:buClrTx/>
                <a:buSzTx/>
                <a:buFontTx/>
                <a:buNone/>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dge Module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rotocol Adaptation</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tream Analytic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I</a:t>
              </a:r>
            </a:p>
          </p:txBody>
        </p:sp>
        <p:pic>
          <p:nvPicPr>
            <p:cNvPr id="129" name="Picture 8" descr="Image result for Azure IoT Edge logo png">
              <a:extLst>
                <a:ext uri="{FF2B5EF4-FFF2-40B4-BE49-F238E27FC236}">
                  <a16:creationId xmlns:a16="http://schemas.microsoft.com/office/drawing/2014/main" id="{F747B297-48AB-4EFF-B7CC-780901916D4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55486" y="2463377"/>
              <a:ext cx="322193" cy="400879"/>
            </a:xfrm>
            <a:prstGeom prst="rect">
              <a:avLst/>
            </a:prstGeom>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B085ECA-40D5-4A12-9C55-85ABCE56E43C}"/>
                </a:ext>
              </a:extLst>
            </p:cNvPr>
            <p:cNvSpPr/>
            <p:nvPr/>
          </p:nvSpPr>
          <p:spPr>
            <a:xfrm>
              <a:off x="1324829" y="2884060"/>
              <a:ext cx="780305" cy="448308"/>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a:t>
              </a:r>
              <a:b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IoT Edge</a:t>
              </a:r>
            </a:p>
          </p:txBody>
        </p:sp>
      </p:grpSp>
      <p:sp>
        <p:nvSpPr>
          <p:cNvPr id="154" name="Rectangle 153">
            <a:extLst>
              <a:ext uri="{FF2B5EF4-FFF2-40B4-BE49-F238E27FC236}">
                <a16:creationId xmlns:a16="http://schemas.microsoft.com/office/drawing/2014/main" id="{CF228F15-4C7B-4AF1-9745-A4C6A1B755CA}"/>
              </a:ext>
            </a:extLst>
          </p:cNvPr>
          <p:cNvSpPr/>
          <p:nvPr/>
        </p:nvSpPr>
        <p:spPr bwMode="auto">
          <a:xfrm>
            <a:off x="710636" y="6180637"/>
            <a:ext cx="10885666" cy="51936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91427" bIns="91375" numCol="1" spcCol="0" rtlCol="0" fromWordArt="0" anchor="ctr" anchorCtr="0" forceAA="0" compatLnSpc="1">
            <a:prstTxWarp prst="textNoShape">
              <a:avLst/>
            </a:prstTxWarp>
            <a:noAutofit/>
          </a:bodyPr>
          <a:lstStyle/>
          <a:p>
            <a:pPr marL="2112557" marR="0" lvl="0" indent="-115866" algn="l" defTabSz="6094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rPr>
              <a:t>Integrated view for </a:t>
            </a:r>
            <a:r>
              <a:rPr kumimoji="0" lang="en-US" sz="900" b="0" i="0" u="none" strike="noStrike" kern="0" cap="none" spc="0" normalizeH="0" baseline="0" noProof="0">
                <a:ln>
                  <a:noFill/>
                </a:ln>
                <a:solidFill>
                  <a:srgbClr val="37A5D1"/>
                </a:solidFill>
                <a:effectLst/>
                <a:uLnTx/>
                <a:uFillTx/>
                <a:latin typeface="Segoe UI"/>
                <a:ea typeface="+mn-ea"/>
                <a:cs typeface="+mn-cs"/>
              </a:rPr>
              <a:t>CISO &amp; SecOps personas </a:t>
            </a:r>
            <a:r>
              <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rPr>
              <a:t>to review enterprise security posture, including IoT solutions.</a:t>
            </a:r>
          </a:p>
          <a:p>
            <a:pPr marL="2112557" marR="0" lvl="0" indent="-115866" algn="l" defTabSz="6094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Calibri" panose="020F0502020204030204" pitchFamily="34" charset="0"/>
                <a:cs typeface="+mn-cs"/>
              </a:rPr>
              <a:t>Holistic view of IoT solution security posture for </a:t>
            </a:r>
            <a:r>
              <a:rPr kumimoji="0" lang="en-US" sz="900" b="0" i="0" u="none" strike="noStrike" kern="1200" cap="none" spc="0" normalizeH="0" baseline="0" noProof="0">
                <a:ln>
                  <a:noFill/>
                </a:ln>
                <a:solidFill>
                  <a:srgbClr val="37A5D1"/>
                </a:solidFill>
                <a:effectLst/>
                <a:uLnTx/>
                <a:uFillTx/>
                <a:latin typeface="Segoe UI"/>
                <a:ea typeface="Calibri" panose="020F0502020204030204" pitchFamily="34" charset="0"/>
                <a:cs typeface="+mn-cs"/>
              </a:rPr>
              <a:t>DevOps and IoT solution managers </a:t>
            </a:r>
            <a:r>
              <a:rPr kumimoji="0" lang="en-US" sz="900" b="0" i="0" u="none" strike="noStrike" kern="1200" cap="none" spc="0" normalizeH="0" baseline="0" noProof="0">
                <a:ln>
                  <a:noFill/>
                </a:ln>
                <a:solidFill>
                  <a:srgbClr val="000000">
                    <a:lumMod val="75000"/>
                    <a:lumOff val="25000"/>
                  </a:srgbClr>
                </a:solidFill>
                <a:effectLst/>
                <a:uLnTx/>
                <a:uFillTx/>
                <a:latin typeface="Segoe UI"/>
                <a:ea typeface="Calibri" panose="020F0502020204030204" pitchFamily="34" charset="0"/>
                <a:cs typeface="+mn-cs"/>
              </a:rPr>
              <a:t>to review and manage day to day security status</a:t>
            </a:r>
            <a:endPar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endParaRPr>
          </a:p>
        </p:txBody>
      </p:sp>
      <p:pic>
        <p:nvPicPr>
          <p:cNvPr id="156" name="Picture 2" descr="Image result for Azure Security Center Icon">
            <a:extLst>
              <a:ext uri="{FF2B5EF4-FFF2-40B4-BE49-F238E27FC236}">
                <a16:creationId xmlns:a16="http://schemas.microsoft.com/office/drawing/2014/main" id="{9F976DFE-92AC-4A91-95AD-9CA3400485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0591" y="6283185"/>
            <a:ext cx="336060" cy="33606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1E26FD01-7A81-4EA5-A5EA-2A31F9033A4F}"/>
              </a:ext>
            </a:extLst>
          </p:cNvPr>
          <p:cNvSpPr/>
          <p:nvPr/>
        </p:nvSpPr>
        <p:spPr>
          <a:xfrm>
            <a:off x="1144098" y="6252375"/>
            <a:ext cx="1303001" cy="397032"/>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Defender for IoT</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71284" y="3027240"/>
            <a:ext cx="414880" cy="351265"/>
          </a:xfrm>
          <a:prstGeom prst="rect">
            <a:avLst/>
          </a:prstGeom>
          <a:noFill/>
          <a:extLst>
            <a:ext uri="{909E8E84-426E-40DD-AFC4-6F175D3DCCD1}">
              <a14:hiddenFill xmlns:a14="http://schemas.microsoft.com/office/drawing/2010/main">
                <a:solidFill>
                  <a:srgbClr val="FFFFFF"/>
                </a:solidFill>
              </a14:hiddenFill>
            </a:ext>
          </a:extLst>
        </p:spPr>
      </p:pic>
      <p:sp>
        <p:nvSpPr>
          <p:cNvPr id="245" name="Rectangle 244">
            <a:extLst>
              <a:ext uri="{FF2B5EF4-FFF2-40B4-BE49-F238E27FC236}">
                <a16:creationId xmlns:a16="http://schemas.microsoft.com/office/drawing/2014/main" id="{A8A66C6E-568C-46D5-A888-3EC6658D9CC1}"/>
              </a:ext>
            </a:extLst>
          </p:cNvPr>
          <p:cNvSpPr/>
          <p:nvPr/>
        </p:nvSpPr>
        <p:spPr>
          <a:xfrm>
            <a:off x="9432579" y="5214300"/>
            <a:ext cx="2098617" cy="286232"/>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3</a:t>
            </a:r>
            <a:r>
              <a:rPr kumimoji="0" lang="en-US" sz="1400" b="0" i="0" u="none" strike="noStrike" kern="0" cap="none" spc="0" normalizeH="0" baseline="3000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d</a:t>
            </a: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 Party applications</a:t>
            </a:r>
          </a:p>
        </p:txBody>
      </p: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p:cNvCxnSpPr>
          <p:nvPr/>
        </p:nvCxnSpPr>
        <p:spPr>
          <a:xfrm flipV="1">
            <a:off x="10445159" y="3648171"/>
            <a:ext cx="0" cy="470604"/>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51666" y="2137135"/>
            <a:ext cx="1796176" cy="136627"/>
          </a:xfrm>
          <a:prstGeom prst="rect">
            <a:avLst/>
          </a:prstGeom>
          <a:solidFill>
            <a:schemeClr val="bg1"/>
          </a:solidFill>
          <a:ln>
            <a:noFill/>
            <a:headEnd type="none" w="med" len="med"/>
            <a:tailEnd type="none" w="med" len="med"/>
          </a:ln>
        </p:spPr>
        <p:txBody>
          <a:bodyPr wrap="square" lIns="0" tIns="0" rIns="0" bIns="0" rtlCol="0">
            <a:spAutoFit/>
          </a:bodyPr>
          <a:lstStyle/>
          <a:p>
            <a:pPr marL="0" marR="0" lvl="0" indent="0" algn="ctr" defTabSz="93184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65000"/>
                  <a:lumOff val="35000"/>
                </a:srgbClr>
              </a:solidFill>
              <a:effectLst/>
              <a:uLnTx/>
              <a:uFillTx/>
              <a:latin typeface="Segoe UI"/>
              <a:ea typeface="Segoe UI" panose="020B0502040204020203" pitchFamily="34" charset="0"/>
              <a:cs typeface="Segoe UI" panose="020B0502040204020203" pitchFamily="34" charset="0"/>
            </a:endParaRPr>
          </a:p>
        </p:txBody>
      </p:sp>
      <p:grpSp>
        <p:nvGrpSpPr>
          <p:cNvPr id="38" name="Group 37">
            <a:extLst>
              <a:ext uri="{FF2B5EF4-FFF2-40B4-BE49-F238E27FC236}">
                <a16:creationId xmlns:a16="http://schemas.microsoft.com/office/drawing/2014/main" id="{8B78670F-F152-41D3-95AF-4F76BC221B56}"/>
              </a:ext>
            </a:extLst>
          </p:cNvPr>
          <p:cNvGrpSpPr/>
          <p:nvPr/>
        </p:nvGrpSpPr>
        <p:grpSpPr>
          <a:xfrm>
            <a:off x="974603" y="2771354"/>
            <a:ext cx="1764159" cy="114747"/>
            <a:chOff x="871619" y="1823040"/>
            <a:chExt cx="1796202" cy="116335"/>
          </a:xfrm>
        </p:grpSpPr>
        <p:sp>
          <p:nvSpPr>
            <p:cNvPr id="143" name="Frame 5">
              <a:extLst>
                <a:ext uri="{FF2B5EF4-FFF2-40B4-BE49-F238E27FC236}">
                  <a16:creationId xmlns:a16="http://schemas.microsoft.com/office/drawing/2014/main" id="{4D458441-6EAC-47EC-AD56-CCE73FDA11D2}"/>
                </a:ext>
              </a:extLst>
            </p:cNvPr>
            <p:cNvSpPr>
              <a:spLocks noChangeAspect="1"/>
            </p:cNvSpPr>
            <p:nvPr/>
          </p:nvSpPr>
          <p:spPr bwMode="auto">
            <a:xfrm>
              <a:off x="1027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ame 5">
              <a:extLst>
                <a:ext uri="{FF2B5EF4-FFF2-40B4-BE49-F238E27FC236}">
                  <a16:creationId xmlns:a16="http://schemas.microsoft.com/office/drawing/2014/main" id="{955D953F-2C45-474F-8759-6D725ABC64FE}"/>
                </a:ext>
              </a:extLst>
            </p:cNvPr>
            <p:cNvSpPr>
              <a:spLocks noChangeAspect="1"/>
            </p:cNvSpPr>
            <p:nvPr/>
          </p:nvSpPr>
          <p:spPr bwMode="auto">
            <a:xfrm>
              <a:off x="1179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ame 5">
              <a:extLst>
                <a:ext uri="{FF2B5EF4-FFF2-40B4-BE49-F238E27FC236}">
                  <a16:creationId xmlns:a16="http://schemas.microsoft.com/office/drawing/2014/main" id="{C6D68C34-3C97-4516-861B-DB4344BA220C}"/>
                </a:ext>
              </a:extLst>
            </p:cNvPr>
            <p:cNvSpPr>
              <a:spLocks noChangeAspect="1"/>
            </p:cNvSpPr>
            <p:nvPr/>
          </p:nvSpPr>
          <p:spPr bwMode="auto">
            <a:xfrm>
              <a:off x="1332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9" name="Frame 5">
              <a:extLst>
                <a:ext uri="{FF2B5EF4-FFF2-40B4-BE49-F238E27FC236}">
                  <a16:creationId xmlns:a16="http://schemas.microsoft.com/office/drawing/2014/main" id="{A2CBC0F6-4BC4-4C7B-B217-A104F0E9A2D0}"/>
                </a:ext>
              </a:extLst>
            </p:cNvPr>
            <p:cNvSpPr>
              <a:spLocks noChangeAspect="1"/>
            </p:cNvSpPr>
            <p:nvPr/>
          </p:nvSpPr>
          <p:spPr bwMode="auto">
            <a:xfrm>
              <a:off x="1484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ame 5">
              <a:extLst>
                <a:ext uri="{FF2B5EF4-FFF2-40B4-BE49-F238E27FC236}">
                  <a16:creationId xmlns:a16="http://schemas.microsoft.com/office/drawing/2014/main" id="{F2EABB8A-3C23-450C-9BF7-91DDF79FC4CC}"/>
                </a:ext>
              </a:extLst>
            </p:cNvPr>
            <p:cNvSpPr>
              <a:spLocks noChangeAspect="1"/>
            </p:cNvSpPr>
            <p:nvPr/>
          </p:nvSpPr>
          <p:spPr bwMode="auto">
            <a:xfrm>
              <a:off x="1637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ame 5">
              <a:extLst>
                <a:ext uri="{FF2B5EF4-FFF2-40B4-BE49-F238E27FC236}">
                  <a16:creationId xmlns:a16="http://schemas.microsoft.com/office/drawing/2014/main" id="{E2F64DE5-087B-46A0-9914-6CD973F310EE}"/>
                </a:ext>
              </a:extLst>
            </p:cNvPr>
            <p:cNvSpPr>
              <a:spLocks noChangeAspect="1"/>
            </p:cNvSpPr>
            <p:nvPr/>
          </p:nvSpPr>
          <p:spPr bwMode="auto">
            <a:xfrm>
              <a:off x="1789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Frame 5">
              <a:extLst>
                <a:ext uri="{FF2B5EF4-FFF2-40B4-BE49-F238E27FC236}">
                  <a16:creationId xmlns:a16="http://schemas.microsoft.com/office/drawing/2014/main" id="{F4E7823A-B703-40B9-86CA-A9B2181E7FCB}"/>
                </a:ext>
              </a:extLst>
            </p:cNvPr>
            <p:cNvSpPr>
              <a:spLocks noChangeAspect="1"/>
            </p:cNvSpPr>
            <p:nvPr/>
          </p:nvSpPr>
          <p:spPr bwMode="auto">
            <a:xfrm>
              <a:off x="1941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ame 5">
              <a:extLst>
                <a:ext uri="{FF2B5EF4-FFF2-40B4-BE49-F238E27FC236}">
                  <a16:creationId xmlns:a16="http://schemas.microsoft.com/office/drawing/2014/main" id="{2E57E8B2-E3AF-4563-9737-FD35A225460B}"/>
                </a:ext>
              </a:extLst>
            </p:cNvPr>
            <p:cNvSpPr>
              <a:spLocks noChangeAspect="1"/>
            </p:cNvSpPr>
            <p:nvPr/>
          </p:nvSpPr>
          <p:spPr bwMode="auto">
            <a:xfrm>
              <a:off x="2094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ame 5">
              <a:extLst>
                <a:ext uri="{FF2B5EF4-FFF2-40B4-BE49-F238E27FC236}">
                  <a16:creationId xmlns:a16="http://schemas.microsoft.com/office/drawing/2014/main" id="{FFACC293-4719-4DFD-874C-D80DA45297BD}"/>
                </a:ext>
              </a:extLst>
            </p:cNvPr>
            <p:cNvSpPr>
              <a:spLocks noChangeAspect="1"/>
            </p:cNvSpPr>
            <p:nvPr/>
          </p:nvSpPr>
          <p:spPr bwMode="auto">
            <a:xfrm>
              <a:off x="2246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Frame 5">
              <a:extLst>
                <a:ext uri="{FF2B5EF4-FFF2-40B4-BE49-F238E27FC236}">
                  <a16:creationId xmlns:a16="http://schemas.microsoft.com/office/drawing/2014/main" id="{D725DB21-A051-4EFE-AFF7-07D9E2322838}"/>
                </a:ext>
              </a:extLst>
            </p:cNvPr>
            <p:cNvSpPr>
              <a:spLocks noChangeAspect="1"/>
            </p:cNvSpPr>
            <p:nvPr/>
          </p:nvSpPr>
          <p:spPr bwMode="auto">
            <a:xfrm>
              <a:off x="2399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ame 5">
              <a:extLst>
                <a:ext uri="{FF2B5EF4-FFF2-40B4-BE49-F238E27FC236}">
                  <a16:creationId xmlns:a16="http://schemas.microsoft.com/office/drawing/2014/main" id="{44A0E126-BC75-420B-8281-951C954B4818}"/>
                </a:ext>
              </a:extLst>
            </p:cNvPr>
            <p:cNvSpPr>
              <a:spLocks noChangeAspect="1"/>
            </p:cNvSpPr>
            <p:nvPr/>
          </p:nvSpPr>
          <p:spPr bwMode="auto">
            <a:xfrm>
              <a:off x="2551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ame 5">
              <a:extLst>
                <a:ext uri="{FF2B5EF4-FFF2-40B4-BE49-F238E27FC236}">
                  <a16:creationId xmlns:a16="http://schemas.microsoft.com/office/drawing/2014/main" id="{FBB9ECBC-B81B-49E0-BAAC-37F6CF59A194}"/>
                </a:ext>
              </a:extLst>
            </p:cNvPr>
            <p:cNvSpPr>
              <a:spLocks noChangeAspect="1"/>
            </p:cNvSpPr>
            <p:nvPr/>
          </p:nvSpPr>
          <p:spPr bwMode="auto">
            <a:xfrm>
              <a:off x="871619"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1030159" y="4428645"/>
            <a:ext cx="231380" cy="12774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675241" y="4408659"/>
            <a:ext cx="112129" cy="168275"/>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396497" y="4408659"/>
            <a:ext cx="134621" cy="168275"/>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213933" y="4408659"/>
            <a:ext cx="171554" cy="16827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522384" y="4408659"/>
            <a:ext cx="163134" cy="168275"/>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930217" y="4408659"/>
            <a:ext cx="145637" cy="168275"/>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cxnSp>
        <p:nvCxnSpPr>
          <p:cNvPr id="178" name="2 Arrow">
            <a:extLst>
              <a:ext uri="{FF2B5EF4-FFF2-40B4-BE49-F238E27FC236}">
                <a16:creationId xmlns:a16="http://schemas.microsoft.com/office/drawing/2014/main" id="{1467568E-E4FD-4A9A-8FEA-8A8BE84920BD}"/>
              </a:ext>
            </a:extLst>
          </p:cNvPr>
          <p:cNvCxnSpPr>
            <a:cxnSpLocks/>
            <a:stCxn id="124" idx="0"/>
            <a:endCxn id="123" idx="2"/>
          </p:cNvCxnSpPr>
          <p:nvPr/>
        </p:nvCxnSpPr>
        <p:spPr>
          <a:xfrm flipV="1">
            <a:off x="1852875" y="2972956"/>
            <a:ext cx="5996" cy="28020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3FA4D944-BC9F-4965-A686-1620FB306821}"/>
              </a:ext>
            </a:extLst>
          </p:cNvPr>
          <p:cNvGrpSpPr/>
          <p:nvPr/>
        </p:nvGrpSpPr>
        <p:grpSpPr>
          <a:xfrm>
            <a:off x="974603" y="5065534"/>
            <a:ext cx="1764159" cy="114747"/>
            <a:chOff x="871619" y="1823040"/>
            <a:chExt cx="1796202" cy="116335"/>
          </a:xfrm>
        </p:grpSpPr>
        <p:sp>
          <p:nvSpPr>
            <p:cNvPr id="181" name="Frame 5">
              <a:extLst>
                <a:ext uri="{FF2B5EF4-FFF2-40B4-BE49-F238E27FC236}">
                  <a16:creationId xmlns:a16="http://schemas.microsoft.com/office/drawing/2014/main" id="{07D024B7-E255-4D4B-BB9E-161546F236BB}"/>
                </a:ext>
              </a:extLst>
            </p:cNvPr>
            <p:cNvSpPr>
              <a:spLocks noChangeAspect="1"/>
            </p:cNvSpPr>
            <p:nvPr/>
          </p:nvSpPr>
          <p:spPr bwMode="auto">
            <a:xfrm>
              <a:off x="1027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ame 5">
              <a:extLst>
                <a:ext uri="{FF2B5EF4-FFF2-40B4-BE49-F238E27FC236}">
                  <a16:creationId xmlns:a16="http://schemas.microsoft.com/office/drawing/2014/main" id="{62C3B660-5845-4A59-BCE3-CBC6120CEBC6}"/>
                </a:ext>
              </a:extLst>
            </p:cNvPr>
            <p:cNvSpPr>
              <a:spLocks noChangeAspect="1"/>
            </p:cNvSpPr>
            <p:nvPr/>
          </p:nvSpPr>
          <p:spPr bwMode="auto">
            <a:xfrm>
              <a:off x="1179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ame 5">
              <a:extLst>
                <a:ext uri="{FF2B5EF4-FFF2-40B4-BE49-F238E27FC236}">
                  <a16:creationId xmlns:a16="http://schemas.microsoft.com/office/drawing/2014/main" id="{FEE426A0-5C97-4458-8AAE-B26D19672D46}"/>
                </a:ext>
              </a:extLst>
            </p:cNvPr>
            <p:cNvSpPr>
              <a:spLocks noChangeAspect="1"/>
            </p:cNvSpPr>
            <p:nvPr/>
          </p:nvSpPr>
          <p:spPr bwMode="auto">
            <a:xfrm>
              <a:off x="1332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ame 5">
              <a:extLst>
                <a:ext uri="{FF2B5EF4-FFF2-40B4-BE49-F238E27FC236}">
                  <a16:creationId xmlns:a16="http://schemas.microsoft.com/office/drawing/2014/main" id="{4CA768D7-95A9-49EC-BA39-ACE759ED53FC}"/>
                </a:ext>
              </a:extLst>
            </p:cNvPr>
            <p:cNvSpPr>
              <a:spLocks noChangeAspect="1"/>
            </p:cNvSpPr>
            <p:nvPr/>
          </p:nvSpPr>
          <p:spPr bwMode="auto">
            <a:xfrm>
              <a:off x="1484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ame 5">
              <a:extLst>
                <a:ext uri="{FF2B5EF4-FFF2-40B4-BE49-F238E27FC236}">
                  <a16:creationId xmlns:a16="http://schemas.microsoft.com/office/drawing/2014/main" id="{5C11AFFF-B5B6-497E-BF07-FF97A857B97C}"/>
                </a:ext>
              </a:extLst>
            </p:cNvPr>
            <p:cNvSpPr>
              <a:spLocks noChangeAspect="1"/>
            </p:cNvSpPr>
            <p:nvPr/>
          </p:nvSpPr>
          <p:spPr bwMode="auto">
            <a:xfrm>
              <a:off x="1637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ame 5">
              <a:extLst>
                <a:ext uri="{FF2B5EF4-FFF2-40B4-BE49-F238E27FC236}">
                  <a16:creationId xmlns:a16="http://schemas.microsoft.com/office/drawing/2014/main" id="{7EED7A35-C332-4874-AF6A-1C2FEFD8F272}"/>
                </a:ext>
              </a:extLst>
            </p:cNvPr>
            <p:cNvSpPr>
              <a:spLocks noChangeAspect="1"/>
            </p:cNvSpPr>
            <p:nvPr/>
          </p:nvSpPr>
          <p:spPr bwMode="auto">
            <a:xfrm>
              <a:off x="1789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ame 5">
              <a:extLst>
                <a:ext uri="{FF2B5EF4-FFF2-40B4-BE49-F238E27FC236}">
                  <a16:creationId xmlns:a16="http://schemas.microsoft.com/office/drawing/2014/main" id="{DCF59D93-9E1D-44AA-A8EE-E71849D2CFE2}"/>
                </a:ext>
              </a:extLst>
            </p:cNvPr>
            <p:cNvSpPr>
              <a:spLocks noChangeAspect="1"/>
            </p:cNvSpPr>
            <p:nvPr/>
          </p:nvSpPr>
          <p:spPr bwMode="auto">
            <a:xfrm>
              <a:off x="1941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ame 5">
              <a:extLst>
                <a:ext uri="{FF2B5EF4-FFF2-40B4-BE49-F238E27FC236}">
                  <a16:creationId xmlns:a16="http://schemas.microsoft.com/office/drawing/2014/main" id="{63B5534B-B050-48A4-A571-6EF35480B5AA}"/>
                </a:ext>
              </a:extLst>
            </p:cNvPr>
            <p:cNvSpPr>
              <a:spLocks noChangeAspect="1"/>
            </p:cNvSpPr>
            <p:nvPr/>
          </p:nvSpPr>
          <p:spPr bwMode="auto">
            <a:xfrm>
              <a:off x="2094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ame 5">
              <a:extLst>
                <a:ext uri="{FF2B5EF4-FFF2-40B4-BE49-F238E27FC236}">
                  <a16:creationId xmlns:a16="http://schemas.microsoft.com/office/drawing/2014/main" id="{A9F9FDA5-A496-41FB-9CB7-B80C2474D20C}"/>
                </a:ext>
              </a:extLst>
            </p:cNvPr>
            <p:cNvSpPr>
              <a:spLocks noChangeAspect="1"/>
            </p:cNvSpPr>
            <p:nvPr/>
          </p:nvSpPr>
          <p:spPr bwMode="auto">
            <a:xfrm>
              <a:off x="2246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ame 5">
              <a:extLst>
                <a:ext uri="{FF2B5EF4-FFF2-40B4-BE49-F238E27FC236}">
                  <a16:creationId xmlns:a16="http://schemas.microsoft.com/office/drawing/2014/main" id="{7A59550C-D801-4123-A032-080AE3E93226}"/>
                </a:ext>
              </a:extLst>
            </p:cNvPr>
            <p:cNvSpPr>
              <a:spLocks noChangeAspect="1"/>
            </p:cNvSpPr>
            <p:nvPr/>
          </p:nvSpPr>
          <p:spPr bwMode="auto">
            <a:xfrm>
              <a:off x="2399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ame 5">
              <a:extLst>
                <a:ext uri="{FF2B5EF4-FFF2-40B4-BE49-F238E27FC236}">
                  <a16:creationId xmlns:a16="http://schemas.microsoft.com/office/drawing/2014/main" id="{BE731515-4283-4495-BCA1-824B9AD03D7C}"/>
                </a:ext>
              </a:extLst>
            </p:cNvPr>
            <p:cNvSpPr>
              <a:spLocks noChangeAspect="1"/>
            </p:cNvSpPr>
            <p:nvPr/>
          </p:nvSpPr>
          <p:spPr bwMode="auto">
            <a:xfrm>
              <a:off x="2551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ame 5">
              <a:extLst>
                <a:ext uri="{FF2B5EF4-FFF2-40B4-BE49-F238E27FC236}">
                  <a16:creationId xmlns:a16="http://schemas.microsoft.com/office/drawing/2014/main" id="{07301A5D-7611-4D59-A03A-A678E265FD68}"/>
                </a:ext>
              </a:extLst>
            </p:cNvPr>
            <p:cNvSpPr>
              <a:spLocks noChangeAspect="1"/>
            </p:cNvSpPr>
            <p:nvPr/>
          </p:nvSpPr>
          <p:spPr bwMode="auto">
            <a:xfrm>
              <a:off x="871619"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 name="Rectangle 3">
            <a:extLst>
              <a:ext uri="{FF2B5EF4-FFF2-40B4-BE49-F238E27FC236}">
                <a16:creationId xmlns:a16="http://schemas.microsoft.com/office/drawing/2014/main" id="{CA20291D-3AAD-4C9A-BAA8-84C16329B711}"/>
              </a:ext>
            </a:extLst>
          </p:cNvPr>
          <p:cNvSpPr/>
          <p:nvPr/>
        </p:nvSpPr>
        <p:spPr>
          <a:xfrm>
            <a:off x="706763" y="2156158"/>
            <a:ext cx="2322095" cy="688227"/>
          </a:xfrm>
          <a:prstGeom prst="rect">
            <a:avLst/>
          </a:prstGeom>
        </p:spPr>
        <p:txBody>
          <a:bodyPr wrap="square" lIns="0" rIns="0">
            <a:spAutoFit/>
          </a:bodyPr>
          <a:lstStyle/>
          <a:p>
            <a:pPr marL="0" marR="0" lvl="0" indent="0" algn="ctr" defTabSz="914192" rtl="0" eaLnBrk="1" fontAlgn="auto" latinLnBrk="0" hangingPunct="1">
              <a:lnSpc>
                <a:spcPct val="100000"/>
              </a:lnSpc>
              <a:spcBef>
                <a:spcPts val="0"/>
              </a:spcBef>
              <a:spcAft>
                <a:spcPts val="0"/>
              </a:spcAft>
              <a:buClrTx/>
              <a:buSzPct val="90000"/>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Azure IoT Device SDK</a:t>
            </a:r>
          </a:p>
          <a:p>
            <a:pPr marL="0" marR="0" lvl="1" indent="0" algn="ctr" defTabSz="914192" rtl="0" eaLnBrk="1" fontAlgn="auto" latinLnBrk="0" hangingPunct="1">
              <a:lnSpc>
                <a:spcPct val="90000"/>
              </a:lnSpc>
              <a:spcBef>
                <a:spcPts val="200"/>
              </a:spcBef>
              <a:spcAft>
                <a:spcPts val="0"/>
              </a:spcAft>
              <a:buClr>
                <a:srgbClr val="FFFFFF">
                  <a:lumMod val="75000"/>
                </a:srgbClr>
              </a:buClr>
              <a:buSzPct val="100000"/>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3</a:t>
            </a:r>
            <a:r>
              <a:rPr kumimoji="0" lang="en-US" sz="900" b="0" i="0" u="none" strike="noStrike" kern="1200" cap="none" spc="0" normalizeH="0" baseline="30000" noProof="0">
                <a:ln>
                  <a:noFill/>
                </a:ln>
                <a:solidFill>
                  <a:srgbClr val="000000">
                    <a:lumMod val="75000"/>
                    <a:lumOff val="25000"/>
                  </a:srgbClr>
                </a:solidFill>
                <a:effectLst/>
                <a:uLnTx/>
                <a:uFillTx/>
                <a:latin typeface="Segoe UI"/>
                <a:ea typeface="+mn-ea"/>
                <a:cs typeface="+mn-cs"/>
              </a:rPr>
              <a:t>rd</a:t>
            </a: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 Party Industry specific sensors &amp; devices</a:t>
            </a:r>
            <a:endParaRPr kumimoji="0" lang="en-US" sz="900" b="0" i="0" u="none" strike="noStrike" kern="0" cap="none" spc="0" normalizeH="0" baseline="0" noProof="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endParaRPr>
          </a:p>
          <a:p>
            <a:pPr marL="0" marR="0" lvl="1" indent="0" algn="ctr" defTabSz="914192" rtl="0" eaLnBrk="1" fontAlgn="auto" latinLnBrk="0" hangingPunct="1">
              <a:lnSpc>
                <a:spcPct val="90000"/>
              </a:lnSpc>
              <a:spcBef>
                <a:spcPts val="200"/>
              </a:spcBef>
              <a:spcAft>
                <a:spcPts val="0"/>
              </a:spcAft>
              <a:buClr>
                <a:srgbClr val="FFFFFF">
                  <a:lumMod val="75000"/>
                </a:srgbClr>
              </a:buClr>
              <a:buSzPct val="100000"/>
              <a:buFontTx/>
              <a:buNone/>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RTOS, Linux, Windows, Android, iOS) </a:t>
            </a:r>
          </a:p>
          <a:p>
            <a:pPr marL="0" marR="0" lvl="1" indent="0" algn="ctr" defTabSz="914192" rtl="0" eaLnBrk="1" fontAlgn="auto" latinLnBrk="0" hangingPunct="1">
              <a:lnSpc>
                <a:spcPct val="90000"/>
              </a:lnSpc>
              <a:spcBef>
                <a:spcPts val="0"/>
              </a:spcBef>
              <a:spcAft>
                <a:spcPts val="0"/>
              </a:spcAft>
              <a:buClr>
                <a:srgbClr val="FFFFFF">
                  <a:lumMod val="75000"/>
                </a:srgbClr>
              </a:buClr>
              <a:buSzPct val="100000"/>
              <a:buFontTx/>
              <a:buNone/>
              <a:tabLst/>
              <a:defRPr/>
            </a:pPr>
            <a:endPar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49033C2A-0BF2-40F5-9F47-E32B316E758B}"/>
              </a:ext>
            </a:extLst>
          </p:cNvPr>
          <p:cNvGrpSpPr/>
          <p:nvPr/>
        </p:nvGrpSpPr>
        <p:grpSpPr>
          <a:xfrm>
            <a:off x="6380636" y="2885271"/>
            <a:ext cx="652761" cy="827569"/>
            <a:chOff x="6663694" y="2228737"/>
            <a:chExt cx="744372" cy="939715"/>
          </a:xfrm>
        </p:grpSpPr>
        <p:pic>
          <p:nvPicPr>
            <p:cNvPr id="7" name="Picture 6">
              <a:extLst>
                <a:ext uri="{FF2B5EF4-FFF2-40B4-BE49-F238E27FC236}">
                  <a16:creationId xmlns:a16="http://schemas.microsoft.com/office/drawing/2014/main" id="{B236328B-9750-48CA-9DB7-B9718D44E8D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90229" y="2228737"/>
              <a:ext cx="717837" cy="724273"/>
            </a:xfrm>
            <a:prstGeom prst="rect">
              <a:avLst/>
            </a:prstGeom>
          </p:spPr>
        </p:pic>
        <p:sp>
          <p:nvSpPr>
            <p:cNvPr id="109" name="Rectangle 108">
              <a:extLst>
                <a:ext uri="{FF2B5EF4-FFF2-40B4-BE49-F238E27FC236}">
                  <a16:creationId xmlns:a16="http://schemas.microsoft.com/office/drawing/2014/main" id="{D4F9BA13-E5F6-4D19-9A58-24CF8F175DEE}"/>
                </a:ext>
              </a:extLst>
            </p:cNvPr>
            <p:cNvSpPr/>
            <p:nvPr/>
          </p:nvSpPr>
          <p:spPr>
            <a:xfrm>
              <a:off x="6663694" y="2920226"/>
              <a:ext cx="736564"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IoT Hu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3" name="Group 232">
            <a:extLst>
              <a:ext uri="{FF2B5EF4-FFF2-40B4-BE49-F238E27FC236}">
                <a16:creationId xmlns:a16="http://schemas.microsoft.com/office/drawing/2014/main" id="{BD0BC07E-4AF7-47CA-9467-94FAE72D4BCE}"/>
              </a:ext>
            </a:extLst>
          </p:cNvPr>
          <p:cNvGrpSpPr/>
          <p:nvPr/>
        </p:nvGrpSpPr>
        <p:grpSpPr>
          <a:xfrm>
            <a:off x="3949201" y="4152683"/>
            <a:ext cx="786055" cy="680881"/>
            <a:chOff x="2838579" y="4660806"/>
            <a:chExt cx="800219" cy="690210"/>
          </a:xfrm>
        </p:grpSpPr>
        <p:pic>
          <p:nvPicPr>
            <p:cNvPr id="2052" name="Picture 4" descr="Image result for Azure Container Registry icon">
              <a:extLst>
                <a:ext uri="{FF2B5EF4-FFF2-40B4-BE49-F238E27FC236}">
                  <a16:creationId xmlns:a16="http://schemas.microsoft.com/office/drawing/2014/main" id="{2BABF26C-FEA0-4D7E-BEEE-7A8C8686E195}"/>
                </a:ext>
              </a:extLst>
            </p:cNvPr>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57449" y="4660806"/>
              <a:ext cx="357211" cy="357211"/>
            </a:xfrm>
            <a:prstGeom prst="ellipse">
              <a:avLst/>
            </a:prstGeom>
            <a:noFill/>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3EF067DC-E5FA-4661-A0BE-9AE16F5CE324}"/>
                </a:ext>
              </a:extLst>
            </p:cNvPr>
            <p:cNvSpPr/>
            <p:nvPr/>
          </p:nvSpPr>
          <p:spPr>
            <a:xfrm>
              <a:off x="2838579" y="5000151"/>
              <a:ext cx="800219"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ntainer </a:t>
              </a:r>
            </a:p>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egistry</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 name="Group 21">
            <a:extLst>
              <a:ext uri="{FF2B5EF4-FFF2-40B4-BE49-F238E27FC236}">
                <a16:creationId xmlns:a16="http://schemas.microsoft.com/office/drawing/2014/main" id="{931D7F99-22A3-4C8F-8A63-2A4B3DEEBF38}"/>
              </a:ext>
            </a:extLst>
          </p:cNvPr>
          <p:cNvGrpSpPr/>
          <p:nvPr/>
        </p:nvGrpSpPr>
        <p:grpSpPr>
          <a:xfrm>
            <a:off x="4519767" y="4549552"/>
            <a:ext cx="877383" cy="622954"/>
            <a:chOff x="4624886" y="4156843"/>
            <a:chExt cx="893193" cy="631489"/>
          </a:xfrm>
        </p:grpSpPr>
        <p:pic>
          <p:nvPicPr>
            <p:cNvPr id="2050" name="Picture 2" descr="Image result for Azure Kubernetes icon">
              <a:extLst>
                <a:ext uri="{FF2B5EF4-FFF2-40B4-BE49-F238E27FC236}">
                  <a16:creationId xmlns:a16="http://schemas.microsoft.com/office/drawing/2014/main" id="{BC3D65C2-3CED-4D3A-86E9-2D7977AF8D1E}"/>
                </a:ext>
              </a:extLst>
            </p:cNvPr>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20160" y="4156843"/>
              <a:ext cx="263876" cy="263876"/>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121">
              <a:extLst>
                <a:ext uri="{FF2B5EF4-FFF2-40B4-BE49-F238E27FC236}">
                  <a16:creationId xmlns:a16="http://schemas.microsoft.com/office/drawing/2014/main" id="{DA4B0BD5-F11F-4503-BF88-FBB974672369}"/>
                </a:ext>
              </a:extLst>
            </p:cNvPr>
            <p:cNvSpPr/>
            <p:nvPr/>
          </p:nvSpPr>
          <p:spPr>
            <a:xfrm>
              <a:off x="4624886" y="4437467"/>
              <a:ext cx="893193"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Kubernetes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ervic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9" name="Group 228">
            <a:extLst>
              <a:ext uri="{FF2B5EF4-FFF2-40B4-BE49-F238E27FC236}">
                <a16:creationId xmlns:a16="http://schemas.microsoft.com/office/drawing/2014/main" id="{76A7F3D8-79D3-4883-B8AC-C4331DD2D9D5}"/>
              </a:ext>
            </a:extLst>
          </p:cNvPr>
          <p:cNvGrpSpPr/>
          <p:nvPr/>
        </p:nvGrpSpPr>
        <p:grpSpPr>
          <a:xfrm>
            <a:off x="7010271" y="4755589"/>
            <a:ext cx="756138" cy="642545"/>
            <a:chOff x="6574257" y="4745712"/>
            <a:chExt cx="769763" cy="651348"/>
          </a:xfrm>
        </p:grpSpPr>
        <p:pic>
          <p:nvPicPr>
            <p:cNvPr id="125" name="Picture 124">
              <a:extLst>
                <a:ext uri="{FF2B5EF4-FFF2-40B4-BE49-F238E27FC236}">
                  <a16:creationId xmlns:a16="http://schemas.microsoft.com/office/drawing/2014/main" id="{8B80BDD0-B7F1-4A25-A270-02DE91CE3729}"/>
                </a:ext>
              </a:extLst>
            </p:cNvPr>
            <p:cNvPicPr>
              <a:picLocks noChangeAspect="1"/>
            </p:cNvPicPr>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11280" y="4745712"/>
              <a:ext cx="281168" cy="281168"/>
            </a:xfrm>
            <a:prstGeom prst="rect">
              <a:avLst/>
            </a:prstGeom>
          </p:spPr>
        </p:pic>
        <p:sp>
          <p:nvSpPr>
            <p:cNvPr id="126" name="Rectangle 125">
              <a:extLst>
                <a:ext uri="{FF2B5EF4-FFF2-40B4-BE49-F238E27FC236}">
                  <a16:creationId xmlns:a16="http://schemas.microsoft.com/office/drawing/2014/main" id="{60489E3D-4EFF-44EA-BD96-FEA815C54086}"/>
                </a:ext>
              </a:extLst>
            </p:cNvPr>
            <p:cNvSpPr/>
            <p:nvPr/>
          </p:nvSpPr>
          <p:spPr>
            <a:xfrm>
              <a:off x="6574257" y="5046195"/>
              <a:ext cx="769763"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mput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VM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7" name="Group 226">
            <a:extLst>
              <a:ext uri="{FF2B5EF4-FFF2-40B4-BE49-F238E27FC236}">
                <a16:creationId xmlns:a16="http://schemas.microsoft.com/office/drawing/2014/main" id="{7F0570E2-AC42-4256-BF9E-676891E7A02D}"/>
              </a:ext>
            </a:extLst>
          </p:cNvPr>
          <p:cNvGrpSpPr/>
          <p:nvPr/>
        </p:nvGrpSpPr>
        <p:grpSpPr>
          <a:xfrm>
            <a:off x="5526651" y="5037656"/>
            <a:ext cx="715197" cy="696078"/>
            <a:chOff x="4154467" y="1454211"/>
            <a:chExt cx="728084" cy="705615"/>
          </a:xfrm>
        </p:grpSpPr>
        <p:pic>
          <p:nvPicPr>
            <p:cNvPr id="2054" name="Picture 6" descr="Image result for Azure Content Delivery Network icon">
              <a:extLst>
                <a:ext uri="{FF2B5EF4-FFF2-40B4-BE49-F238E27FC236}">
                  <a16:creationId xmlns:a16="http://schemas.microsoft.com/office/drawing/2014/main" id="{B6DB172B-D7EA-45C3-959F-EFF382CE64FF}"/>
                </a:ext>
              </a:extLst>
            </p:cNvPr>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61010" y="1454211"/>
              <a:ext cx="391617" cy="206252"/>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129">
              <a:extLst>
                <a:ext uri="{FF2B5EF4-FFF2-40B4-BE49-F238E27FC236}">
                  <a16:creationId xmlns:a16="http://schemas.microsoft.com/office/drawing/2014/main" id="{7BA62860-CF22-43D5-A13B-CB62B18D3E79}"/>
                </a:ext>
              </a:extLst>
            </p:cNvPr>
            <p:cNvSpPr/>
            <p:nvPr/>
          </p:nvSpPr>
          <p:spPr>
            <a:xfrm>
              <a:off x="4154467" y="1679695"/>
              <a:ext cx="728084" cy="480131"/>
            </a:xfrm>
            <a:prstGeom prst="rect">
              <a:avLst/>
            </a:prstGeom>
            <a:solidFill>
              <a:srgbClr val="FFFFFF"/>
            </a:solidFill>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ntent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elivery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Network </a:t>
              </a:r>
            </a:p>
          </p:txBody>
        </p:sp>
      </p:grpSp>
      <p:grpSp>
        <p:nvGrpSpPr>
          <p:cNvPr id="30" name="Group 29">
            <a:extLst>
              <a:ext uri="{FF2B5EF4-FFF2-40B4-BE49-F238E27FC236}">
                <a16:creationId xmlns:a16="http://schemas.microsoft.com/office/drawing/2014/main" id="{024537A9-CE73-402D-8C63-37CB1E429193}"/>
              </a:ext>
            </a:extLst>
          </p:cNvPr>
          <p:cNvGrpSpPr/>
          <p:nvPr/>
        </p:nvGrpSpPr>
        <p:grpSpPr>
          <a:xfrm>
            <a:off x="5227590" y="4276547"/>
            <a:ext cx="691577" cy="618970"/>
            <a:chOff x="4072737" y="3746830"/>
            <a:chExt cx="704039" cy="627450"/>
          </a:xfrm>
        </p:grpSpPr>
        <p:pic>
          <p:nvPicPr>
            <p:cNvPr id="2056" name="Picture 8" descr="Related image">
              <a:extLst>
                <a:ext uri="{FF2B5EF4-FFF2-40B4-BE49-F238E27FC236}">
                  <a16:creationId xmlns:a16="http://schemas.microsoft.com/office/drawing/2014/main" id="{36765CA9-28C4-4386-A1E9-C5E05318BC49}"/>
                </a:ext>
              </a:extLst>
            </p:cNvPr>
            <p:cNvPicPr>
              <a:picLocks noChangeAspect="1" noChangeArrowheads="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05091" y="3746830"/>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a:extLst>
                <a:ext uri="{FF2B5EF4-FFF2-40B4-BE49-F238E27FC236}">
                  <a16:creationId xmlns:a16="http://schemas.microsoft.com/office/drawing/2014/main" id="{451FAC6B-C239-4409-8149-36A43AA8EC2C}"/>
                </a:ext>
              </a:extLst>
            </p:cNvPr>
            <p:cNvSpPr/>
            <p:nvPr/>
          </p:nvSpPr>
          <p:spPr>
            <a:xfrm>
              <a:off x="4072737" y="4023415"/>
              <a:ext cx="704039"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ata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xplorer </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0" name="Group 229">
            <a:extLst>
              <a:ext uri="{FF2B5EF4-FFF2-40B4-BE49-F238E27FC236}">
                <a16:creationId xmlns:a16="http://schemas.microsoft.com/office/drawing/2014/main" id="{AFCC1583-C364-4319-8F15-1CD170D16743}"/>
              </a:ext>
            </a:extLst>
          </p:cNvPr>
          <p:cNvGrpSpPr/>
          <p:nvPr/>
        </p:nvGrpSpPr>
        <p:grpSpPr>
          <a:xfrm>
            <a:off x="6542274" y="5302330"/>
            <a:ext cx="817548" cy="526158"/>
            <a:chOff x="5653891" y="4736093"/>
            <a:chExt cx="832279" cy="533367"/>
          </a:xfrm>
        </p:grpSpPr>
        <p:pic>
          <p:nvPicPr>
            <p:cNvPr id="2060" name="Picture 12" descr="Related image">
              <a:extLst>
                <a:ext uri="{FF2B5EF4-FFF2-40B4-BE49-F238E27FC236}">
                  <a16:creationId xmlns:a16="http://schemas.microsoft.com/office/drawing/2014/main" id="{3A1E8A2A-B033-4BDA-AC71-F81DF165ADBC}"/>
                </a:ext>
              </a:extLst>
            </p:cNvPr>
            <p:cNvPicPr>
              <a:picLocks noChangeAspect="1" noChangeArrowheads="1"/>
            </p:cNvPicPr>
            <p:nvPr/>
          </p:nvPicPr>
          <p:blipFill>
            <a:blip r:embed="rId1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3132" y="4736093"/>
              <a:ext cx="370462" cy="304699"/>
            </a:xfrm>
            <a:prstGeom prst="rect">
              <a:avLst/>
            </a:prstGeom>
            <a:noFill/>
            <a:extLst>
              <a:ext uri="{909E8E84-426E-40DD-AFC4-6F175D3DCCD1}">
                <a14:hiddenFill xmlns:a14="http://schemas.microsoft.com/office/drawing/2010/main">
                  <a:solidFill>
                    <a:srgbClr val="FFFFFF"/>
                  </a:solidFill>
                </a14:hiddenFill>
              </a:ext>
            </a:extLst>
          </p:spPr>
        </p:pic>
        <p:sp>
          <p:nvSpPr>
            <p:cNvPr id="135" name="Rectangle 134">
              <a:extLst>
                <a:ext uri="{FF2B5EF4-FFF2-40B4-BE49-F238E27FC236}">
                  <a16:creationId xmlns:a16="http://schemas.microsoft.com/office/drawing/2014/main" id="{4A221316-5E29-46F8-A010-8B39B85F886E}"/>
                </a:ext>
              </a:extLst>
            </p:cNvPr>
            <p:cNvSpPr/>
            <p:nvPr/>
          </p:nvSpPr>
          <p:spPr>
            <a:xfrm>
              <a:off x="5653891" y="5047861"/>
              <a:ext cx="832279" cy="221599"/>
            </a:xfrm>
            <a:prstGeom prst="rect">
              <a:avLst/>
            </a:prstGeom>
          </p:spPr>
          <p:txBody>
            <a:bodyPr wrap="non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ront Door</a:t>
              </a:r>
            </a:p>
          </p:txBody>
        </p:sp>
      </p:grpSp>
      <p:grpSp>
        <p:nvGrpSpPr>
          <p:cNvPr id="232" name="Group 231">
            <a:extLst>
              <a:ext uri="{FF2B5EF4-FFF2-40B4-BE49-F238E27FC236}">
                <a16:creationId xmlns:a16="http://schemas.microsoft.com/office/drawing/2014/main" id="{4EF842AA-79DC-445B-A202-F956EB8BED08}"/>
              </a:ext>
            </a:extLst>
          </p:cNvPr>
          <p:cNvGrpSpPr/>
          <p:nvPr/>
        </p:nvGrpSpPr>
        <p:grpSpPr>
          <a:xfrm>
            <a:off x="8196567" y="4869883"/>
            <a:ext cx="738801" cy="818309"/>
            <a:chOff x="3791473" y="4437467"/>
            <a:chExt cx="752114" cy="829521"/>
          </a:xfrm>
        </p:grpSpPr>
        <p:pic>
          <p:nvPicPr>
            <p:cNvPr id="137" name="Picture 136">
              <a:extLst>
                <a:ext uri="{FF2B5EF4-FFF2-40B4-BE49-F238E27FC236}">
                  <a16:creationId xmlns:a16="http://schemas.microsoft.com/office/drawing/2014/main" id="{439D9E90-1077-472C-A3B7-2C0EE3123533}"/>
                </a:ext>
              </a:extLst>
            </p:cNvPr>
            <p:cNvPicPr>
              <a:picLocks noChangeAspect="1"/>
            </p:cNvPicPr>
            <p:nvPr/>
          </p:nvPicPr>
          <p:blipFill>
            <a:blip r:embed="rId1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87024" y="4437467"/>
              <a:ext cx="340214" cy="340214"/>
            </a:xfrm>
            <a:prstGeom prst="rect">
              <a:avLst/>
            </a:prstGeom>
          </p:spPr>
        </p:pic>
        <p:sp>
          <p:nvSpPr>
            <p:cNvPr id="138" name="Rectangle 137">
              <a:extLst>
                <a:ext uri="{FF2B5EF4-FFF2-40B4-BE49-F238E27FC236}">
                  <a16:creationId xmlns:a16="http://schemas.microsoft.com/office/drawing/2014/main" id="{9934739D-8189-4EEF-B8A5-DE797A985815}"/>
                </a:ext>
              </a:extLst>
            </p:cNvPr>
            <p:cNvSpPr/>
            <p:nvPr/>
          </p:nvSpPr>
          <p:spPr>
            <a:xfrm>
              <a:off x="3791473" y="4786857"/>
              <a:ext cx="752114" cy="480131"/>
            </a:xfrm>
            <a:prstGeom prst="rect">
              <a:avLst/>
            </a:prstGeom>
          </p:spPr>
          <p:txBody>
            <a:bodyPr wrap="square">
              <a:no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esourc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anager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RM)</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1" name="Group 230">
            <a:extLst>
              <a:ext uri="{FF2B5EF4-FFF2-40B4-BE49-F238E27FC236}">
                <a16:creationId xmlns:a16="http://schemas.microsoft.com/office/drawing/2014/main" id="{6AFA5298-A94F-4A28-92D5-FFB9E24E5029}"/>
              </a:ext>
            </a:extLst>
          </p:cNvPr>
          <p:cNvGrpSpPr/>
          <p:nvPr/>
        </p:nvGrpSpPr>
        <p:grpSpPr>
          <a:xfrm>
            <a:off x="6179012" y="4830316"/>
            <a:ext cx="633316" cy="545189"/>
            <a:chOff x="7567678" y="4583361"/>
            <a:chExt cx="644728" cy="552659"/>
          </a:xfrm>
        </p:grpSpPr>
        <p:pic>
          <p:nvPicPr>
            <p:cNvPr id="2066" name="Picture 18" descr="Image result for &quot;Azure blob storage&quot; icon">
              <a:extLst>
                <a:ext uri="{FF2B5EF4-FFF2-40B4-BE49-F238E27FC236}">
                  <a16:creationId xmlns:a16="http://schemas.microsoft.com/office/drawing/2014/main" id="{B09F250C-F64D-46C8-8BF2-330B100A5D70}"/>
                </a:ext>
              </a:extLst>
            </p:cNvPr>
            <p:cNvPicPr>
              <a:picLocks noChangeAspect="1" noChangeArrowheads="1"/>
            </p:cNvPicPr>
            <p:nvPr/>
          </p:nvPicPr>
          <p:blipFill>
            <a:blip r:embed="rId2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54563" y="4583361"/>
              <a:ext cx="311305" cy="311305"/>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463B01D8-122D-4E86-B100-9CCE0C305653}"/>
                </a:ext>
              </a:extLst>
            </p:cNvPr>
            <p:cNvSpPr/>
            <p:nvPr/>
          </p:nvSpPr>
          <p:spPr>
            <a:xfrm>
              <a:off x="7567678" y="4914421"/>
              <a:ext cx="644728" cy="221599"/>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8" name="Group 227">
            <a:extLst>
              <a:ext uri="{FF2B5EF4-FFF2-40B4-BE49-F238E27FC236}">
                <a16:creationId xmlns:a16="http://schemas.microsoft.com/office/drawing/2014/main" id="{53FC60D3-86B5-425F-9F29-F2B934358748}"/>
              </a:ext>
            </a:extLst>
          </p:cNvPr>
          <p:cNvGrpSpPr/>
          <p:nvPr/>
        </p:nvGrpSpPr>
        <p:grpSpPr>
          <a:xfrm>
            <a:off x="3820813" y="5022272"/>
            <a:ext cx="649142" cy="746991"/>
            <a:chOff x="3877663" y="3493210"/>
            <a:chExt cx="660839" cy="757225"/>
          </a:xfrm>
        </p:grpSpPr>
        <p:sp>
          <p:nvSpPr>
            <p:cNvPr id="6" name="Rectangle 5">
              <a:extLst>
                <a:ext uri="{FF2B5EF4-FFF2-40B4-BE49-F238E27FC236}">
                  <a16:creationId xmlns:a16="http://schemas.microsoft.com/office/drawing/2014/main" id="{EAEBEEA4-131D-4750-9885-CA37B14E4F67}"/>
                </a:ext>
              </a:extLst>
            </p:cNvPr>
            <p:cNvSpPr/>
            <p:nvPr/>
          </p:nvSpPr>
          <p:spPr>
            <a:xfrm>
              <a:off x="3877663" y="3807141"/>
              <a:ext cx="660839" cy="443294"/>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Domain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Nam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System</a:t>
              </a:r>
            </a:p>
          </p:txBody>
        </p:sp>
        <p:pic>
          <p:nvPicPr>
            <p:cNvPr id="142" name="Picture 141">
              <a:extLst>
                <a:ext uri="{FF2B5EF4-FFF2-40B4-BE49-F238E27FC236}">
                  <a16:creationId xmlns:a16="http://schemas.microsoft.com/office/drawing/2014/main" id="{B7D62602-0CE8-4D7C-9136-7EA0D094670F}"/>
                </a:ext>
              </a:extLst>
            </p:cNvPr>
            <p:cNvPicPr>
              <a:picLocks noChangeAspect="1"/>
            </p:cNvPicPr>
            <p:nvPr/>
          </p:nvPicPr>
          <p:blipFill>
            <a:blip r:embed="rId2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57214" y="3493210"/>
              <a:ext cx="281168" cy="281168"/>
            </a:xfrm>
            <a:prstGeom prst="rect">
              <a:avLst/>
            </a:prstGeom>
          </p:spPr>
        </p:pic>
      </p:grpSp>
      <p:grpSp>
        <p:nvGrpSpPr>
          <p:cNvPr id="20" name="Group 19">
            <a:extLst>
              <a:ext uri="{FF2B5EF4-FFF2-40B4-BE49-F238E27FC236}">
                <a16:creationId xmlns:a16="http://schemas.microsoft.com/office/drawing/2014/main" id="{2C2670BB-566F-486E-9CD2-D078E7CC3B33}"/>
              </a:ext>
            </a:extLst>
          </p:cNvPr>
          <p:cNvGrpSpPr/>
          <p:nvPr/>
        </p:nvGrpSpPr>
        <p:grpSpPr>
          <a:xfrm>
            <a:off x="7503205" y="5256253"/>
            <a:ext cx="785462" cy="448087"/>
            <a:chOff x="8497772" y="761774"/>
            <a:chExt cx="799615" cy="454226"/>
          </a:xfrm>
        </p:grpSpPr>
        <p:pic>
          <p:nvPicPr>
            <p:cNvPr id="2070" name="Picture 22" descr="Related image">
              <a:extLst>
                <a:ext uri="{FF2B5EF4-FFF2-40B4-BE49-F238E27FC236}">
                  <a16:creationId xmlns:a16="http://schemas.microsoft.com/office/drawing/2014/main" id="{9368ABC5-2E23-41BB-9416-B9A68F202DD9}"/>
                </a:ext>
              </a:extLst>
            </p:cNvPr>
            <p:cNvPicPr>
              <a:picLocks noChangeAspect="1" noChangeArrowheads="1"/>
            </p:cNvPicPr>
            <p:nvPr/>
          </p:nvPicPr>
          <p:blipFill>
            <a:blip r:embed="rId2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50358" y="761774"/>
              <a:ext cx="308205" cy="211100"/>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extLst>
                <a:ext uri="{FF2B5EF4-FFF2-40B4-BE49-F238E27FC236}">
                  <a16:creationId xmlns:a16="http://schemas.microsoft.com/office/drawing/2014/main" id="{6F82B0F1-C363-499B-B089-4265E441C3DE}"/>
                </a:ext>
              </a:extLst>
            </p:cNvPr>
            <p:cNvSpPr/>
            <p:nvPr/>
          </p:nvSpPr>
          <p:spPr>
            <a:xfrm>
              <a:off x="8497772" y="962084"/>
              <a:ext cx="799615" cy="253916"/>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Microsoft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low</a:t>
              </a:r>
            </a:p>
          </p:txBody>
        </p:sp>
      </p:grpSp>
      <p:grpSp>
        <p:nvGrpSpPr>
          <p:cNvPr id="226" name="Group 225">
            <a:extLst>
              <a:ext uri="{FF2B5EF4-FFF2-40B4-BE49-F238E27FC236}">
                <a16:creationId xmlns:a16="http://schemas.microsoft.com/office/drawing/2014/main" id="{24A0EE38-847A-45FD-8E8B-2583CACAC239}"/>
              </a:ext>
            </a:extLst>
          </p:cNvPr>
          <p:cNvGrpSpPr/>
          <p:nvPr/>
        </p:nvGrpSpPr>
        <p:grpSpPr>
          <a:xfrm>
            <a:off x="8075555" y="3756399"/>
            <a:ext cx="785462" cy="590885"/>
            <a:chOff x="7658355" y="3881660"/>
            <a:chExt cx="799615" cy="598981"/>
          </a:xfrm>
        </p:grpSpPr>
        <p:sp>
          <p:nvSpPr>
            <p:cNvPr id="147" name="Rectangle 146">
              <a:extLst>
                <a:ext uri="{FF2B5EF4-FFF2-40B4-BE49-F238E27FC236}">
                  <a16:creationId xmlns:a16="http://schemas.microsoft.com/office/drawing/2014/main" id="{66C3ECA8-6D32-4B9E-84D3-F1276FFB30BC}"/>
                </a:ext>
              </a:extLst>
            </p:cNvPr>
            <p:cNvSpPr/>
            <p:nvPr/>
          </p:nvSpPr>
          <p:spPr>
            <a:xfrm>
              <a:off x="7658355" y="4226725"/>
              <a:ext cx="799615" cy="253916"/>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Key Vault</a:t>
              </a:r>
            </a:p>
          </p:txBody>
        </p:sp>
        <p:pic>
          <p:nvPicPr>
            <p:cNvPr id="150" name="Picture 149">
              <a:extLst>
                <a:ext uri="{FF2B5EF4-FFF2-40B4-BE49-F238E27FC236}">
                  <a16:creationId xmlns:a16="http://schemas.microsoft.com/office/drawing/2014/main" id="{B5FBD6A1-1E47-406E-9575-5DAFD9484D39}"/>
                </a:ext>
              </a:extLst>
            </p:cNvPr>
            <p:cNvPicPr>
              <a:picLocks noChangeAspect="1"/>
            </p:cNvPicPr>
            <p:nvPr/>
          </p:nvPicPr>
          <p:blipFill>
            <a:blip r:embed="rId2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713" y="3881660"/>
              <a:ext cx="309285" cy="309285"/>
            </a:xfrm>
            <a:prstGeom prst="rect">
              <a:avLst/>
            </a:prstGeom>
          </p:spPr>
        </p:pic>
      </p:grpSp>
      <p:grpSp>
        <p:nvGrpSpPr>
          <p:cNvPr id="234" name="Group 233">
            <a:extLst>
              <a:ext uri="{FF2B5EF4-FFF2-40B4-BE49-F238E27FC236}">
                <a16:creationId xmlns:a16="http://schemas.microsoft.com/office/drawing/2014/main" id="{061B0745-FFC0-41AA-A534-4F912F058466}"/>
              </a:ext>
            </a:extLst>
          </p:cNvPr>
          <p:cNvGrpSpPr/>
          <p:nvPr/>
        </p:nvGrpSpPr>
        <p:grpSpPr>
          <a:xfrm>
            <a:off x="4563032" y="5296573"/>
            <a:ext cx="864008" cy="552822"/>
            <a:chOff x="4674904" y="4918972"/>
            <a:chExt cx="879577" cy="560396"/>
          </a:xfrm>
        </p:grpSpPr>
        <p:pic>
          <p:nvPicPr>
            <p:cNvPr id="159" name="Picture 158">
              <a:extLst>
                <a:ext uri="{FF2B5EF4-FFF2-40B4-BE49-F238E27FC236}">
                  <a16:creationId xmlns:a16="http://schemas.microsoft.com/office/drawing/2014/main" id="{21001C42-43C3-4B3C-9494-8BAA197DE041}"/>
                </a:ext>
              </a:extLst>
            </p:cNvPr>
            <p:cNvPicPr>
              <a:picLocks noChangeAspect="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83461" y="4918972"/>
              <a:ext cx="283655" cy="283655"/>
            </a:xfrm>
            <a:prstGeom prst="rect">
              <a:avLst/>
            </a:prstGeom>
          </p:spPr>
        </p:pic>
        <p:sp>
          <p:nvSpPr>
            <p:cNvPr id="160" name="Rectangle 159">
              <a:extLst>
                <a:ext uri="{FF2B5EF4-FFF2-40B4-BE49-F238E27FC236}">
                  <a16:creationId xmlns:a16="http://schemas.microsoft.com/office/drawing/2014/main" id="{0792FF1C-0991-476A-BCC2-9A3E49A75F7F}"/>
                </a:ext>
              </a:extLst>
            </p:cNvPr>
            <p:cNvSpPr/>
            <p:nvPr/>
          </p:nvSpPr>
          <p:spPr>
            <a:xfrm>
              <a:off x="4674904" y="5225452"/>
              <a:ext cx="879577" cy="253916"/>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Service Bus</a:t>
              </a:r>
            </a:p>
          </p:txBody>
        </p:sp>
      </p:grpSp>
      <p:grpSp>
        <p:nvGrpSpPr>
          <p:cNvPr id="18" name="Group 17">
            <a:extLst>
              <a:ext uri="{FF2B5EF4-FFF2-40B4-BE49-F238E27FC236}">
                <a16:creationId xmlns:a16="http://schemas.microsoft.com/office/drawing/2014/main" id="{619F04BB-988A-4F82-B16C-066712AF7548}"/>
              </a:ext>
            </a:extLst>
          </p:cNvPr>
          <p:cNvGrpSpPr/>
          <p:nvPr/>
        </p:nvGrpSpPr>
        <p:grpSpPr>
          <a:xfrm>
            <a:off x="7635091" y="4348790"/>
            <a:ext cx="842414" cy="568046"/>
            <a:chOff x="7470980" y="1703240"/>
            <a:chExt cx="857594" cy="575829"/>
          </a:xfrm>
        </p:grpSpPr>
        <p:pic>
          <p:nvPicPr>
            <p:cNvPr id="161" name="Picture 160">
              <a:extLst>
                <a:ext uri="{FF2B5EF4-FFF2-40B4-BE49-F238E27FC236}">
                  <a16:creationId xmlns:a16="http://schemas.microsoft.com/office/drawing/2014/main" id="{26EDBA28-9F8E-46DB-B5AE-5461FA4C784E}"/>
                </a:ext>
              </a:extLst>
            </p:cNvPr>
            <p:cNvPicPr>
              <a:picLocks noChangeAspect="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756404" y="1703240"/>
              <a:ext cx="281168" cy="281168"/>
            </a:xfrm>
            <a:prstGeom prst="rect">
              <a:avLst/>
            </a:prstGeom>
          </p:spPr>
        </p:pic>
        <p:sp>
          <p:nvSpPr>
            <p:cNvPr id="168" name="Rectangle 167">
              <a:extLst>
                <a:ext uri="{FF2B5EF4-FFF2-40B4-BE49-F238E27FC236}">
                  <a16:creationId xmlns:a16="http://schemas.microsoft.com/office/drawing/2014/main" id="{6ED8223F-CD8D-4BC2-B998-ADE01342C7A8}"/>
                </a:ext>
              </a:extLst>
            </p:cNvPr>
            <p:cNvSpPr/>
            <p:nvPr/>
          </p:nvSpPr>
          <p:spPr>
            <a:xfrm>
              <a:off x="7470980" y="1990376"/>
              <a:ext cx="857594" cy="288693"/>
            </a:xfrm>
            <a:prstGeom prst="rect">
              <a:avLst/>
            </a:prstGeom>
            <a:noFill/>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Application Insights</a:t>
              </a:r>
            </a:p>
          </p:txBody>
        </p:sp>
      </p:grpSp>
      <p:grpSp>
        <p:nvGrpSpPr>
          <p:cNvPr id="237" name="Group 236">
            <a:extLst>
              <a:ext uri="{FF2B5EF4-FFF2-40B4-BE49-F238E27FC236}">
                <a16:creationId xmlns:a16="http://schemas.microsoft.com/office/drawing/2014/main" id="{B266D78F-845F-4BAD-995A-488494C095DD}"/>
              </a:ext>
            </a:extLst>
          </p:cNvPr>
          <p:cNvGrpSpPr/>
          <p:nvPr/>
        </p:nvGrpSpPr>
        <p:grpSpPr>
          <a:xfrm>
            <a:off x="4773509" y="1998569"/>
            <a:ext cx="3524079" cy="2733209"/>
            <a:chOff x="4705374" y="1462628"/>
            <a:chExt cx="3587580" cy="2770657"/>
          </a:xfrm>
        </p:grpSpPr>
        <p:grpSp>
          <p:nvGrpSpPr>
            <p:cNvPr id="235" name="Group 234">
              <a:extLst>
                <a:ext uri="{FF2B5EF4-FFF2-40B4-BE49-F238E27FC236}">
                  <a16:creationId xmlns:a16="http://schemas.microsoft.com/office/drawing/2014/main" id="{5A63D90E-7B16-40A0-8C05-4C1BCE0523C8}"/>
                </a:ext>
              </a:extLst>
            </p:cNvPr>
            <p:cNvGrpSpPr/>
            <p:nvPr/>
          </p:nvGrpSpPr>
          <p:grpSpPr>
            <a:xfrm>
              <a:off x="4705374" y="1462628"/>
              <a:ext cx="3134847" cy="2770657"/>
              <a:chOff x="4763249" y="1416328"/>
              <a:chExt cx="3134847" cy="2770657"/>
            </a:xfrm>
          </p:grpSpPr>
          <p:sp>
            <p:nvSpPr>
              <p:cNvPr id="44" name="Oval 43">
                <a:extLst>
                  <a:ext uri="{FF2B5EF4-FFF2-40B4-BE49-F238E27FC236}">
                    <a16:creationId xmlns:a16="http://schemas.microsoft.com/office/drawing/2014/main" id="{3FE9DBB9-8AA8-4C97-B9D0-F035B9FA5808}"/>
                  </a:ext>
                </a:extLst>
              </p:cNvPr>
              <p:cNvSpPr/>
              <p:nvPr/>
            </p:nvSpPr>
            <p:spPr bwMode="auto">
              <a:xfrm>
                <a:off x="5615521" y="1623528"/>
                <a:ext cx="2249510" cy="2179722"/>
              </a:xfrm>
              <a:prstGeom prst="ellipse">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8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3DC9682D-CFF1-4B95-9012-EC30E20F09F3}"/>
                  </a:ext>
                </a:extLst>
              </p:cNvPr>
              <p:cNvGrpSpPr/>
              <p:nvPr/>
            </p:nvGrpSpPr>
            <p:grpSpPr>
              <a:xfrm>
                <a:off x="6339227" y="1416328"/>
                <a:ext cx="756938" cy="593180"/>
                <a:chOff x="6461281" y="1590285"/>
                <a:chExt cx="756938" cy="593180"/>
              </a:xfrm>
            </p:grpSpPr>
            <p:pic>
              <p:nvPicPr>
                <p:cNvPr id="15" name="Picture 14">
                  <a:extLst>
                    <a:ext uri="{FF2B5EF4-FFF2-40B4-BE49-F238E27FC236}">
                      <a16:creationId xmlns:a16="http://schemas.microsoft.com/office/drawing/2014/main" id="{589E683D-DCB9-467A-83E7-DBEBB90747F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641119" y="1590285"/>
                  <a:ext cx="424585" cy="424584"/>
                </a:xfrm>
                <a:prstGeom prst="rect">
                  <a:avLst/>
                </a:prstGeom>
              </p:spPr>
            </p:pic>
            <p:sp>
              <p:nvSpPr>
                <p:cNvPr id="110" name="Rectangle 109">
                  <a:extLst>
                    <a:ext uri="{FF2B5EF4-FFF2-40B4-BE49-F238E27FC236}">
                      <a16:creationId xmlns:a16="http://schemas.microsoft.com/office/drawing/2014/main" id="{3A6A7787-0CF5-4CF1-8B53-A9751A71FA2D}"/>
                    </a:ext>
                  </a:extLst>
                </p:cNvPr>
                <p:cNvSpPr/>
                <p:nvPr/>
              </p:nvSpPr>
              <p:spPr>
                <a:xfrm>
                  <a:off x="6461281" y="1961866"/>
                  <a:ext cx="756938" cy="221599"/>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unctions</a:t>
                  </a:r>
                </a:p>
              </p:txBody>
            </p:sp>
          </p:grpSp>
          <p:grpSp>
            <p:nvGrpSpPr>
              <p:cNvPr id="25" name="Group 24">
                <a:extLst>
                  <a:ext uri="{FF2B5EF4-FFF2-40B4-BE49-F238E27FC236}">
                    <a16:creationId xmlns:a16="http://schemas.microsoft.com/office/drawing/2014/main" id="{1F838EBB-6FB8-4FA3-9ADE-1CF21FABF6B1}"/>
                  </a:ext>
                </a:extLst>
              </p:cNvPr>
              <p:cNvGrpSpPr/>
              <p:nvPr/>
            </p:nvGrpSpPr>
            <p:grpSpPr>
              <a:xfrm>
                <a:off x="5604376" y="1605487"/>
                <a:ext cx="800219" cy="594792"/>
                <a:chOff x="5309454" y="2451934"/>
                <a:chExt cx="896375" cy="666261"/>
              </a:xfrm>
            </p:grpSpPr>
            <p:pic>
              <p:nvPicPr>
                <p:cNvPr id="21" name="Picture 20">
                  <a:extLst>
                    <a:ext uri="{FF2B5EF4-FFF2-40B4-BE49-F238E27FC236}">
                      <a16:creationId xmlns:a16="http://schemas.microsoft.com/office/drawing/2014/main" id="{1DC0A53D-F0CA-4E6E-A464-E1F13CE70C24}"/>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27630" t="28585" r="27785" b="25862"/>
                <a:stretch/>
              </p:blipFill>
              <p:spPr>
                <a:xfrm>
                  <a:off x="5541088" y="2451934"/>
                  <a:ext cx="433968" cy="443388"/>
                </a:xfrm>
                <a:prstGeom prst="rect">
                  <a:avLst/>
                </a:prstGeom>
              </p:spPr>
            </p:pic>
            <p:sp>
              <p:nvSpPr>
                <p:cNvPr id="111" name="Rectangle 110">
                  <a:extLst>
                    <a:ext uri="{FF2B5EF4-FFF2-40B4-BE49-F238E27FC236}">
                      <a16:creationId xmlns:a16="http://schemas.microsoft.com/office/drawing/2014/main" id="{FF204C91-C3FA-4011-AA0F-74583099B738}"/>
                    </a:ext>
                  </a:extLst>
                </p:cNvPr>
                <p:cNvSpPr/>
                <p:nvPr/>
              </p:nvSpPr>
              <p:spPr>
                <a:xfrm>
                  <a:off x="5309454" y="2869969"/>
                  <a:ext cx="896375"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QL Azur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4" name="Group 23">
                <a:extLst>
                  <a:ext uri="{FF2B5EF4-FFF2-40B4-BE49-F238E27FC236}">
                    <a16:creationId xmlns:a16="http://schemas.microsoft.com/office/drawing/2014/main" id="{84F947FB-3BF2-44CD-89F0-82B6A0B53605}"/>
                  </a:ext>
                </a:extLst>
              </p:cNvPr>
              <p:cNvGrpSpPr/>
              <p:nvPr/>
            </p:nvGrpSpPr>
            <p:grpSpPr>
              <a:xfrm>
                <a:off x="6729470" y="3545744"/>
                <a:ext cx="864340" cy="574918"/>
                <a:chOff x="6817831" y="3760305"/>
                <a:chExt cx="968200" cy="643999"/>
              </a:xfrm>
            </p:grpSpPr>
            <p:pic>
              <p:nvPicPr>
                <p:cNvPr id="17" name="Picture 16" descr="A picture containing clipart, vector graphics&#10;&#10;Description automatically generated">
                  <a:extLst>
                    <a:ext uri="{FF2B5EF4-FFF2-40B4-BE49-F238E27FC236}">
                      <a16:creationId xmlns:a16="http://schemas.microsoft.com/office/drawing/2014/main" id="{AB80B5F8-9159-4811-99F4-53A9ABD27DE4}"/>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l="20563" r="20086"/>
                <a:stretch/>
              </p:blipFill>
              <p:spPr>
                <a:xfrm>
                  <a:off x="7088221" y="3760305"/>
                  <a:ext cx="457179" cy="405032"/>
                </a:xfrm>
                <a:prstGeom prst="rect">
                  <a:avLst/>
                </a:prstGeom>
              </p:spPr>
            </p:pic>
            <p:sp>
              <p:nvSpPr>
                <p:cNvPr id="113" name="Rectangle 112">
                  <a:extLst>
                    <a:ext uri="{FF2B5EF4-FFF2-40B4-BE49-F238E27FC236}">
                      <a16:creationId xmlns:a16="http://schemas.microsoft.com/office/drawing/2014/main" id="{7D9A7F5A-9CB3-499B-A991-A6FFD0925CE3}"/>
                    </a:ext>
                  </a:extLst>
                </p:cNvPr>
                <p:cNvSpPr/>
                <p:nvPr/>
              </p:nvSpPr>
              <p:spPr>
                <a:xfrm>
                  <a:off x="6817831" y="4156078"/>
                  <a:ext cx="968200"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smos D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9" name="Group 28">
                <a:extLst>
                  <a:ext uri="{FF2B5EF4-FFF2-40B4-BE49-F238E27FC236}">
                    <a16:creationId xmlns:a16="http://schemas.microsoft.com/office/drawing/2014/main" id="{0FD56217-72AF-466C-A69F-41883817525E}"/>
                  </a:ext>
                </a:extLst>
              </p:cNvPr>
              <p:cNvGrpSpPr/>
              <p:nvPr/>
            </p:nvGrpSpPr>
            <p:grpSpPr>
              <a:xfrm>
                <a:off x="7082088" y="1697940"/>
                <a:ext cx="816008" cy="540281"/>
                <a:chOff x="6276099" y="2139768"/>
                <a:chExt cx="914060" cy="605198"/>
              </a:xfrm>
            </p:grpSpPr>
            <p:sp>
              <p:nvSpPr>
                <p:cNvPr id="119" name="Rectangle 118">
                  <a:extLst>
                    <a:ext uri="{FF2B5EF4-FFF2-40B4-BE49-F238E27FC236}">
                      <a16:creationId xmlns:a16="http://schemas.microsoft.com/office/drawing/2014/main" id="{78955F4C-9275-4911-B42A-EE4F95081BF0}"/>
                    </a:ext>
                  </a:extLst>
                </p:cNvPr>
                <p:cNvSpPr/>
                <p:nvPr/>
              </p:nvSpPr>
              <p:spPr>
                <a:xfrm>
                  <a:off x="6276099" y="2496740"/>
                  <a:ext cx="914060" cy="248226"/>
                </a:xfrm>
                <a:prstGeom prst="rect">
                  <a:avLst/>
                </a:prstGeom>
              </p:spPr>
              <p:txBody>
                <a:bodyPr wrap="square">
                  <a:spAutoFit/>
                </a:bodyPr>
                <a:lstStyle/>
                <a:p>
                  <a:pPr marL="0" marR="0" lvl="0" indent="0" algn="ctr" defTabSz="913222" rtl="0" eaLnBrk="1" fontAlgn="base" latinLnBrk="0" hangingPunct="1">
                    <a:lnSpc>
                      <a:spcPct val="8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Web Apps</a:t>
                  </a:r>
                </a:p>
              </p:txBody>
            </p:sp>
            <p:pic>
              <p:nvPicPr>
                <p:cNvPr id="120" name="Picture 8" descr="Image result for Web Apps Logo png">
                  <a:extLst>
                    <a:ext uri="{FF2B5EF4-FFF2-40B4-BE49-F238E27FC236}">
                      <a16:creationId xmlns:a16="http://schemas.microsoft.com/office/drawing/2014/main" id="{49A89354-F889-4C5A-82A7-B7E2FE5816A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72270" y="2139768"/>
                  <a:ext cx="707219" cy="371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CB1AD332-78D6-416B-97A8-1110467A6667}"/>
                  </a:ext>
                </a:extLst>
              </p:cNvPr>
              <p:cNvGrpSpPr/>
              <p:nvPr/>
            </p:nvGrpSpPr>
            <p:grpSpPr>
              <a:xfrm>
                <a:off x="5823414" y="3473239"/>
                <a:ext cx="1018227" cy="713746"/>
                <a:chOff x="7115614" y="1593320"/>
                <a:chExt cx="1140578" cy="799510"/>
              </a:xfrm>
            </p:grpSpPr>
            <p:pic>
              <p:nvPicPr>
                <p:cNvPr id="31" name="Picture 30" descr="A close up of a logo&#10;&#10;Description automatically generated">
                  <a:extLst>
                    <a:ext uri="{FF2B5EF4-FFF2-40B4-BE49-F238E27FC236}">
                      <a16:creationId xmlns:a16="http://schemas.microsoft.com/office/drawing/2014/main" id="{5A0FB7AE-0244-42D2-BB37-E686491F376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425346" y="1593320"/>
                  <a:ext cx="472281" cy="472280"/>
                </a:xfrm>
                <a:prstGeom prst="rect">
                  <a:avLst/>
                </a:prstGeom>
              </p:spPr>
            </p:pic>
            <p:sp>
              <p:nvSpPr>
                <p:cNvPr id="131" name="Rectangle 130">
                  <a:extLst>
                    <a:ext uri="{FF2B5EF4-FFF2-40B4-BE49-F238E27FC236}">
                      <a16:creationId xmlns:a16="http://schemas.microsoft.com/office/drawing/2014/main" id="{E9B44A82-8944-470E-8CE0-308712AD3EFD}"/>
                    </a:ext>
                  </a:extLst>
                </p:cNvPr>
                <p:cNvSpPr/>
                <p:nvPr/>
              </p:nvSpPr>
              <p:spPr>
                <a:xfrm>
                  <a:off x="7115614" y="1999805"/>
                  <a:ext cx="1140578" cy="393025"/>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tream </a:t>
                  </a:r>
                </a:p>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nalytic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35" name="Group 34">
                <a:extLst>
                  <a:ext uri="{FF2B5EF4-FFF2-40B4-BE49-F238E27FC236}">
                    <a16:creationId xmlns:a16="http://schemas.microsoft.com/office/drawing/2014/main" id="{C4BB6D84-870E-4649-B45C-F8B445DB3FCD}"/>
                  </a:ext>
                </a:extLst>
              </p:cNvPr>
              <p:cNvGrpSpPr/>
              <p:nvPr/>
            </p:nvGrpSpPr>
            <p:grpSpPr>
              <a:xfrm>
                <a:off x="5237598" y="2374432"/>
                <a:ext cx="797013" cy="572713"/>
                <a:chOff x="7584979" y="3709856"/>
                <a:chExt cx="892782" cy="641532"/>
              </a:xfrm>
            </p:grpSpPr>
            <p:pic>
              <p:nvPicPr>
                <p:cNvPr id="34" name="Picture 33">
                  <a:extLst>
                    <a:ext uri="{FF2B5EF4-FFF2-40B4-BE49-F238E27FC236}">
                      <a16:creationId xmlns:a16="http://schemas.microsoft.com/office/drawing/2014/main" id="{DEBAC1F9-F108-4C79-B222-BBB54B870660}"/>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864920" y="3709856"/>
                  <a:ext cx="382294" cy="382295"/>
                </a:xfrm>
                <a:prstGeom prst="rect">
                  <a:avLst/>
                </a:prstGeom>
              </p:spPr>
            </p:pic>
            <p:sp>
              <p:nvSpPr>
                <p:cNvPr id="133" name="Rectangle 132">
                  <a:extLst>
                    <a:ext uri="{FF2B5EF4-FFF2-40B4-BE49-F238E27FC236}">
                      <a16:creationId xmlns:a16="http://schemas.microsoft.com/office/drawing/2014/main" id="{EAD7A5E1-0B21-4C27-BA50-EEF56C7EE3FE}"/>
                    </a:ext>
                  </a:extLst>
                </p:cNvPr>
                <p:cNvSpPr/>
                <p:nvPr/>
              </p:nvSpPr>
              <p:spPr>
                <a:xfrm>
                  <a:off x="7584979" y="4103161"/>
                  <a:ext cx="892782" cy="248227"/>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vent Hu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5" name="Group 224">
                <a:extLst>
                  <a:ext uri="{FF2B5EF4-FFF2-40B4-BE49-F238E27FC236}">
                    <a16:creationId xmlns:a16="http://schemas.microsoft.com/office/drawing/2014/main" id="{84269072-2943-4FAF-AFFF-0B40AF13CACF}"/>
                  </a:ext>
                </a:extLst>
              </p:cNvPr>
              <p:cNvGrpSpPr/>
              <p:nvPr/>
            </p:nvGrpSpPr>
            <p:grpSpPr>
              <a:xfrm>
                <a:off x="4763249" y="3114585"/>
                <a:ext cx="1267927" cy="480131"/>
                <a:chOff x="4979163" y="3290948"/>
                <a:chExt cx="1267927" cy="480131"/>
              </a:xfrm>
            </p:grpSpPr>
            <p:sp>
              <p:nvSpPr>
                <p:cNvPr id="141" name="Rectangle 140">
                  <a:extLst>
                    <a:ext uri="{FF2B5EF4-FFF2-40B4-BE49-F238E27FC236}">
                      <a16:creationId xmlns:a16="http://schemas.microsoft.com/office/drawing/2014/main" id="{604F545E-9F11-4EFC-9E30-0C2ED763619A}"/>
                    </a:ext>
                  </a:extLst>
                </p:cNvPr>
                <p:cNvSpPr/>
                <p:nvPr/>
              </p:nvSpPr>
              <p:spPr>
                <a:xfrm>
                  <a:off x="4979163" y="3290948"/>
                  <a:ext cx="943740" cy="480131"/>
                </a:xfrm>
                <a:prstGeom prst="rect">
                  <a:avLst/>
                </a:prstGeom>
              </p:spPr>
              <p:txBody>
                <a:bodyPr wrap="square">
                  <a:noAutofit/>
                </a:bodyPr>
                <a:lstStyle/>
                <a:p>
                  <a:pPr marL="0" marR="0" lvl="0" indent="0" algn="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Device</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Provisioning Service</a:t>
                  </a:r>
                </a:p>
              </p:txBody>
            </p:sp>
            <p:pic>
              <p:nvPicPr>
                <p:cNvPr id="10" name="Picture 9">
                  <a:extLst>
                    <a:ext uri="{FF2B5EF4-FFF2-40B4-BE49-F238E27FC236}">
                      <a16:creationId xmlns:a16="http://schemas.microsoft.com/office/drawing/2014/main" id="{787E8E0C-8EAE-45AD-8137-25024AC9B276}"/>
                    </a:ext>
                  </a:extLst>
                </p:cNvPr>
                <p:cNvPicPr>
                  <a:picLocks noChangeAspect="1"/>
                </p:cNvPicPr>
                <p:nvPr/>
              </p:nvPicPr>
              <p:blipFill rotWithShape="1">
                <a:blip r:embed="rId31"/>
                <a:srcRect l="25147" r="25264"/>
                <a:stretch/>
              </p:blipFill>
              <p:spPr>
                <a:xfrm>
                  <a:off x="5906034" y="3370375"/>
                  <a:ext cx="341056" cy="343882"/>
                </a:xfrm>
                <a:prstGeom prst="rect">
                  <a:avLst/>
                </a:prstGeom>
              </p:spPr>
            </p:pic>
          </p:grpSp>
        </p:grpSp>
        <p:grpSp>
          <p:nvGrpSpPr>
            <p:cNvPr id="28" name="Group 27">
              <a:extLst>
                <a:ext uri="{FF2B5EF4-FFF2-40B4-BE49-F238E27FC236}">
                  <a16:creationId xmlns:a16="http://schemas.microsoft.com/office/drawing/2014/main" id="{16B6DA37-838E-45FC-8C43-BE1F8EB9D726}"/>
                </a:ext>
              </a:extLst>
            </p:cNvPr>
            <p:cNvGrpSpPr/>
            <p:nvPr/>
          </p:nvGrpSpPr>
          <p:grpSpPr>
            <a:xfrm>
              <a:off x="7232922" y="3046305"/>
              <a:ext cx="1011337" cy="695101"/>
              <a:chOff x="6948531" y="3199804"/>
              <a:chExt cx="1132861" cy="778625"/>
            </a:xfrm>
          </p:grpSpPr>
          <p:pic>
            <p:nvPicPr>
              <p:cNvPr id="19" name="Picture 18" descr="A picture containing clipart&#10;&#10;Description automatically generated">
                <a:extLst>
                  <a:ext uri="{FF2B5EF4-FFF2-40B4-BE49-F238E27FC236}">
                    <a16:creationId xmlns:a16="http://schemas.microsoft.com/office/drawing/2014/main" id="{CDBB2002-ED54-4881-A11C-AE6C10CBDCBE}"/>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15916" r="17956"/>
              <a:stretch/>
            </p:blipFill>
            <p:spPr>
              <a:xfrm>
                <a:off x="7267043" y="3199804"/>
                <a:ext cx="458568" cy="378527"/>
              </a:xfrm>
              <a:prstGeom prst="rect">
                <a:avLst/>
              </a:prstGeom>
            </p:spPr>
          </p:pic>
          <p:sp>
            <p:nvSpPr>
              <p:cNvPr id="112" name="Rectangle 111">
                <a:extLst>
                  <a:ext uri="{FF2B5EF4-FFF2-40B4-BE49-F238E27FC236}">
                    <a16:creationId xmlns:a16="http://schemas.microsoft.com/office/drawing/2014/main" id="{5DC47CD7-9F0D-4131-ADF0-FC47CBD160F9}"/>
                  </a:ext>
                </a:extLst>
              </p:cNvPr>
              <p:cNvSpPr/>
              <p:nvPr/>
            </p:nvSpPr>
            <p:spPr>
              <a:xfrm>
                <a:off x="6948531" y="3585404"/>
                <a:ext cx="1132861" cy="393025"/>
              </a:xfrm>
              <a:prstGeom prst="rect">
                <a:avLst/>
              </a:prstGeom>
            </p:spPr>
            <p:txBody>
              <a:bodyPr wrap="squar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Time Series Insight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16" name="Group 15">
              <a:extLst>
                <a:ext uri="{FF2B5EF4-FFF2-40B4-BE49-F238E27FC236}">
                  <a16:creationId xmlns:a16="http://schemas.microsoft.com/office/drawing/2014/main" id="{0730C3CF-4676-4492-A8FC-9361A90A4CC7}"/>
                </a:ext>
              </a:extLst>
            </p:cNvPr>
            <p:cNvGrpSpPr/>
            <p:nvPr/>
          </p:nvGrpSpPr>
          <p:grpSpPr>
            <a:xfrm>
              <a:off x="7595385" y="2370645"/>
              <a:ext cx="697569" cy="565369"/>
              <a:chOff x="7455056" y="2438842"/>
              <a:chExt cx="697569" cy="565369"/>
            </a:xfrm>
          </p:grpSpPr>
          <p:pic>
            <p:nvPicPr>
              <p:cNvPr id="2062" name="Picture 14" descr="Image result for &quot;Azure maps&quot; icon">
                <a:extLst>
                  <a:ext uri="{FF2B5EF4-FFF2-40B4-BE49-F238E27FC236}">
                    <a16:creationId xmlns:a16="http://schemas.microsoft.com/office/drawing/2014/main" id="{5B0902EA-C042-44E7-AB4D-8AE4CA99FCCE}"/>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528284" y="2438842"/>
                <a:ext cx="293464" cy="377945"/>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C72BE447-4395-42CB-8E6C-6C3AF5443163}"/>
                  </a:ext>
                </a:extLst>
              </p:cNvPr>
              <p:cNvSpPr/>
              <p:nvPr/>
            </p:nvSpPr>
            <p:spPr>
              <a:xfrm>
                <a:off x="7455056" y="2782612"/>
                <a:ext cx="697569" cy="221599"/>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Maps</a:t>
                </a:r>
              </a:p>
            </p:txBody>
          </p:sp>
        </p:grpSp>
      </p:grpSp>
      <p:cxnSp>
        <p:nvCxnSpPr>
          <p:cNvPr id="216" name="2   Arrow fg">
            <a:extLst>
              <a:ext uri="{FF2B5EF4-FFF2-40B4-BE49-F238E27FC236}">
                <a16:creationId xmlns:a16="http://schemas.microsoft.com/office/drawing/2014/main" id="{4151DD31-5F0D-4C86-B342-04E207E2CCF4}"/>
              </a:ext>
            </a:extLst>
          </p:cNvPr>
          <p:cNvCxnSpPr>
            <a:cxnSpLocks/>
          </p:cNvCxnSpPr>
          <p:nvPr/>
        </p:nvCxnSpPr>
        <p:spPr>
          <a:xfrm flipV="1">
            <a:off x="3057679" y="3968274"/>
            <a:ext cx="485036" cy="7547"/>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458CC69D-AE4E-48AE-A526-7110565EBCC5}"/>
              </a:ext>
            </a:extLst>
          </p:cNvPr>
          <p:cNvSpPr/>
          <p:nvPr/>
        </p:nvSpPr>
        <p:spPr bwMode="auto">
          <a:xfrm>
            <a:off x="3802153" y="2041669"/>
            <a:ext cx="5067834" cy="3780862"/>
          </a:xfrm>
          <a:prstGeom prst="rect">
            <a:avLst/>
          </a:prstGeom>
          <a:noFill/>
          <a:ln w="19050">
            <a:solidFill>
              <a:schemeClr val="bg1">
                <a:lumMod val="8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18288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cxnSp>
        <p:nvCxnSpPr>
          <p:cNvPr id="218" name="2 Arrow">
            <a:extLst>
              <a:ext uri="{FF2B5EF4-FFF2-40B4-BE49-F238E27FC236}">
                <a16:creationId xmlns:a16="http://schemas.microsoft.com/office/drawing/2014/main" id="{23361EFC-C34E-4E60-9B9A-A10D0AA53E6C}"/>
              </a:ext>
            </a:extLst>
          </p:cNvPr>
          <p:cNvCxnSpPr>
            <a:cxnSpLocks/>
          </p:cNvCxnSpPr>
          <p:nvPr/>
        </p:nvCxnSpPr>
        <p:spPr>
          <a:xfrm flipV="1">
            <a:off x="3060121" y="5500782"/>
            <a:ext cx="485036" cy="8807"/>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FAEC930D-2AF0-43A2-A808-CA363C377535}"/>
              </a:ext>
            </a:extLst>
          </p:cNvPr>
          <p:cNvCxnSpPr>
            <a:cxnSpLocks/>
          </p:cNvCxnSpPr>
          <p:nvPr/>
        </p:nvCxnSpPr>
        <p:spPr>
          <a:xfrm>
            <a:off x="8861017" y="2628672"/>
            <a:ext cx="473009"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D96EACF0-F5C6-4A92-B84D-8DAAE27CA7C8}"/>
              </a:ext>
            </a:extLst>
          </p:cNvPr>
          <p:cNvCxnSpPr>
            <a:cxnSpLocks/>
          </p:cNvCxnSpPr>
          <p:nvPr/>
        </p:nvCxnSpPr>
        <p:spPr>
          <a:xfrm>
            <a:off x="8861017" y="4799363"/>
            <a:ext cx="473009"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1" name="2   Arrow fg">
            <a:extLst>
              <a:ext uri="{FF2B5EF4-FFF2-40B4-BE49-F238E27FC236}">
                <a16:creationId xmlns:a16="http://schemas.microsoft.com/office/drawing/2014/main" id="{4DA84D20-14A1-49E5-9D1E-9ED90522E3F4}"/>
              </a:ext>
            </a:extLst>
          </p:cNvPr>
          <p:cNvCxnSpPr>
            <a:cxnSpLocks/>
          </p:cNvCxnSpPr>
          <p:nvPr/>
        </p:nvCxnSpPr>
        <p:spPr>
          <a:xfrm>
            <a:off x="3068322" y="2509905"/>
            <a:ext cx="485036"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4" name="Title 1">
            <a:extLst>
              <a:ext uri="{FF2B5EF4-FFF2-40B4-BE49-F238E27FC236}">
                <a16:creationId xmlns:a16="http://schemas.microsoft.com/office/drawing/2014/main" id="{7F84B16C-B438-42E9-B73C-C9CF006429FD}"/>
              </a:ext>
            </a:extLst>
          </p:cNvPr>
          <p:cNvSpPr>
            <a:spLocks noGrp="1"/>
          </p:cNvSpPr>
          <p:nvPr>
            <p:ph type="title"/>
          </p:nvPr>
        </p:nvSpPr>
        <p:spPr>
          <a:xfrm>
            <a:off x="455994" y="252740"/>
            <a:ext cx="11303917" cy="813819"/>
          </a:xfrm>
        </p:spPr>
        <p:txBody>
          <a:bodyPr/>
          <a:lstStyle/>
          <a:p>
            <a:r>
              <a:rPr lang="en-US" dirty="0">
                <a:ea typeface="Calibri" panose="020F0502020204030204" pitchFamily="34" charset="0"/>
              </a:rPr>
              <a:t>Your options for building IoT solutions</a:t>
            </a:r>
            <a:endParaRPr lang="en-US" dirty="0">
              <a:latin typeface="Segoe UI Light" panose="020B0502040204020203" pitchFamily="34" charset="0"/>
              <a:cs typeface="Segoe UI Light" panose="020B0502040204020203" pitchFamily="34" charset="0"/>
            </a:endParaRPr>
          </a:p>
        </p:txBody>
      </p:sp>
      <p:sp>
        <p:nvSpPr>
          <p:cNvPr id="186" name="Title 1">
            <a:extLst>
              <a:ext uri="{FF2B5EF4-FFF2-40B4-BE49-F238E27FC236}">
                <a16:creationId xmlns:a16="http://schemas.microsoft.com/office/drawing/2014/main" id="{4051E31D-61FE-449A-80FC-8012B2BA9C85}"/>
              </a:ext>
            </a:extLst>
          </p:cNvPr>
          <p:cNvSpPr txBox="1">
            <a:spLocks/>
          </p:cNvSpPr>
          <p:nvPr/>
        </p:nvSpPr>
        <p:spPr>
          <a:xfrm>
            <a:off x="455994" y="719441"/>
            <a:ext cx="11303917" cy="46862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49" normalizeH="0" baseline="0" noProof="0" dirty="0">
                <a:ln w="3175">
                  <a:noFill/>
                </a:ln>
                <a:gradFill>
                  <a:gsLst>
                    <a:gs pos="0">
                      <a:srgbClr val="000000"/>
                    </a:gs>
                    <a:gs pos="100000">
                      <a:srgbClr val="000000"/>
                    </a:gs>
                  </a:gsLst>
                  <a:lin ang="5400000" scaled="1"/>
                </a:gradFill>
                <a:effectLst/>
                <a:uLnTx/>
                <a:uFillTx/>
                <a:latin typeface="Segoe UI Semibold"/>
                <a:ea typeface="Calibri" panose="020F0502020204030204" pitchFamily="34" charset="0"/>
                <a:cs typeface="Segoe UI" pitchFamily="34" charset="0"/>
              </a:rPr>
              <a:t>Option 1. Build from the ground up with platform as a service options (Lego blocks) </a:t>
            </a:r>
            <a:endParaRPr kumimoji="0" lang="en-US" sz="2000" b="0" i="0" u="none" strike="noStrike" kern="1200" cap="none" spc="-49" normalizeH="0" baseline="0" noProof="0" dirty="0">
              <a:ln w="3175">
                <a:noFill/>
              </a:ln>
              <a:gradFill>
                <a:gsLst>
                  <a:gs pos="0">
                    <a:srgbClr val="000000"/>
                  </a:gs>
                  <a:gs pos="100000">
                    <a:srgbClr val="000000"/>
                  </a:gs>
                </a:gsLst>
                <a:lin ang="5400000" scaled="1"/>
              </a:gradFill>
              <a:effectLst/>
              <a:uLnTx/>
              <a:uFillTx/>
              <a:latin typeface="Segoe UI Light" panose="020B0502040204020203" pitchFamily="34" charset="0"/>
              <a:ea typeface="+mn-ea"/>
              <a:cs typeface="Segoe UI Light" panose="020B0502040204020203" pitchFamily="34" charset="0"/>
            </a:endParaRPr>
          </a:p>
        </p:txBody>
      </p:sp>
      <p:grpSp>
        <p:nvGrpSpPr>
          <p:cNvPr id="201" name="Group 200">
            <a:extLst>
              <a:ext uri="{FF2B5EF4-FFF2-40B4-BE49-F238E27FC236}">
                <a16:creationId xmlns:a16="http://schemas.microsoft.com/office/drawing/2014/main" id="{56B68C2E-A1A5-4B3B-9729-A5394324DCAC}"/>
              </a:ext>
            </a:extLst>
          </p:cNvPr>
          <p:cNvGrpSpPr/>
          <p:nvPr/>
        </p:nvGrpSpPr>
        <p:grpSpPr>
          <a:xfrm>
            <a:off x="55402" y="1171162"/>
            <a:ext cx="12105100" cy="785353"/>
            <a:chOff x="76016" y="1047480"/>
            <a:chExt cx="12105100" cy="785353"/>
          </a:xfrm>
        </p:grpSpPr>
        <p:sp>
          <p:nvSpPr>
            <p:cNvPr id="202" name="Arrow: Pentagon 201">
              <a:extLst>
                <a:ext uri="{FF2B5EF4-FFF2-40B4-BE49-F238E27FC236}">
                  <a16:creationId xmlns:a16="http://schemas.microsoft.com/office/drawing/2014/main" id="{03FA57EB-AB98-4DB9-9338-1043CFB86612}"/>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05" name="Arrow: Pentagon 204">
              <a:extLst>
                <a:ext uri="{FF2B5EF4-FFF2-40B4-BE49-F238E27FC236}">
                  <a16:creationId xmlns:a16="http://schemas.microsoft.com/office/drawing/2014/main" id="{2D2F4D23-4FCD-40B7-BE8D-1D0AB0DE09AE}"/>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06" name="Arrow: Pentagon 205">
              <a:extLst>
                <a:ext uri="{FF2B5EF4-FFF2-40B4-BE49-F238E27FC236}">
                  <a16:creationId xmlns:a16="http://schemas.microsoft.com/office/drawing/2014/main" id="{5E5E099F-DDC8-4919-B5E5-EF4FD776593C}"/>
                </a:ext>
              </a:extLst>
            </p:cNvPr>
            <p:cNvSpPr/>
            <p:nvPr/>
          </p:nvSpPr>
          <p:spPr bwMode="auto">
            <a:xfrm>
              <a:off x="76016" y="1048624"/>
              <a:ext cx="3730394" cy="783368"/>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207" name="Group 206">
              <a:extLst>
                <a:ext uri="{FF2B5EF4-FFF2-40B4-BE49-F238E27FC236}">
                  <a16:creationId xmlns:a16="http://schemas.microsoft.com/office/drawing/2014/main" id="{A7BF5811-4CA5-4AF0-9E94-D944E3DBF6C6}"/>
                </a:ext>
              </a:extLst>
            </p:cNvPr>
            <p:cNvGrpSpPr/>
            <p:nvPr/>
          </p:nvGrpSpPr>
          <p:grpSpPr>
            <a:xfrm>
              <a:off x="8673895" y="1100729"/>
              <a:ext cx="3320220" cy="636925"/>
              <a:chOff x="7922517" y="4588193"/>
              <a:chExt cx="2892514" cy="636925"/>
            </a:xfrm>
          </p:grpSpPr>
          <p:sp>
            <p:nvSpPr>
              <p:cNvPr id="214" name="TextBox 213">
                <a:extLst>
                  <a:ext uri="{FF2B5EF4-FFF2-40B4-BE49-F238E27FC236}">
                    <a16:creationId xmlns:a16="http://schemas.microsoft.com/office/drawing/2014/main" id="{A3D0EB8B-4C54-4396-9C3B-85102F8FEBC7}"/>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Optimize operations, increase profitability, &amp; create more compelling business models</a:t>
                </a:r>
              </a:p>
            </p:txBody>
          </p:sp>
          <p:sp>
            <p:nvSpPr>
              <p:cNvPr id="215" name="TextBox 214">
                <a:extLst>
                  <a:ext uri="{FF2B5EF4-FFF2-40B4-BE49-F238E27FC236}">
                    <a16:creationId xmlns:a16="http://schemas.microsoft.com/office/drawing/2014/main" id="{4E8C06AB-9826-48A4-95B0-6633C6AF6407}"/>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ACTION</a:t>
                </a:r>
              </a:p>
            </p:txBody>
          </p:sp>
        </p:grpSp>
        <p:grpSp>
          <p:nvGrpSpPr>
            <p:cNvPr id="208" name="Group 207">
              <a:extLst>
                <a:ext uri="{FF2B5EF4-FFF2-40B4-BE49-F238E27FC236}">
                  <a16:creationId xmlns:a16="http://schemas.microsoft.com/office/drawing/2014/main" id="{DB2C7267-A011-4D41-A874-9B239441E765}"/>
                </a:ext>
              </a:extLst>
            </p:cNvPr>
            <p:cNvGrpSpPr/>
            <p:nvPr/>
          </p:nvGrpSpPr>
          <p:grpSpPr>
            <a:xfrm>
              <a:off x="4295017" y="1099369"/>
              <a:ext cx="3764034" cy="501473"/>
              <a:chOff x="2333581" y="4589739"/>
              <a:chExt cx="2589205" cy="430312"/>
            </a:xfrm>
          </p:grpSpPr>
          <p:sp>
            <p:nvSpPr>
              <p:cNvPr id="212" name="TextBox 211">
                <a:extLst>
                  <a:ext uri="{FF2B5EF4-FFF2-40B4-BE49-F238E27FC236}">
                    <a16:creationId xmlns:a16="http://schemas.microsoft.com/office/drawing/2014/main" id="{0C8F8F5F-AE24-401A-AC9A-9B841C37934D}"/>
                  </a:ext>
                </a:extLst>
              </p:cNvPr>
              <p:cNvSpPr txBox="1"/>
              <p:nvPr/>
            </p:nvSpPr>
            <p:spPr>
              <a:xfrm>
                <a:off x="2468907" y="4861920"/>
                <a:ext cx="2414566" cy="15813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Identify patterns in data, automate rules &amp; alerts </a:t>
                </a:r>
              </a:p>
            </p:txBody>
          </p:sp>
          <p:sp>
            <p:nvSpPr>
              <p:cNvPr id="213" name="TextBox 212">
                <a:extLst>
                  <a:ext uri="{FF2B5EF4-FFF2-40B4-BE49-F238E27FC236}">
                    <a16:creationId xmlns:a16="http://schemas.microsoft.com/office/drawing/2014/main" id="{6B586FB3-6379-4B06-8142-54B665622777}"/>
                  </a:ext>
                </a:extLst>
              </p:cNvPr>
              <p:cNvSpPr txBox="1"/>
              <p:nvPr/>
            </p:nvSpPr>
            <p:spPr>
              <a:xfrm>
                <a:off x="2333581" y="4589739"/>
                <a:ext cx="2589205"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INSIGHTS</a:t>
                </a:r>
              </a:p>
            </p:txBody>
          </p:sp>
        </p:grpSp>
        <p:grpSp>
          <p:nvGrpSpPr>
            <p:cNvPr id="209" name="Group 208">
              <a:extLst>
                <a:ext uri="{FF2B5EF4-FFF2-40B4-BE49-F238E27FC236}">
                  <a16:creationId xmlns:a16="http://schemas.microsoft.com/office/drawing/2014/main" id="{5D05E5FE-388A-4DF5-B658-CBF0773E5394}"/>
                </a:ext>
              </a:extLst>
            </p:cNvPr>
            <p:cNvGrpSpPr/>
            <p:nvPr/>
          </p:nvGrpSpPr>
          <p:grpSpPr>
            <a:xfrm>
              <a:off x="181188" y="1102030"/>
              <a:ext cx="3540081" cy="646116"/>
              <a:chOff x="2333581" y="4589739"/>
              <a:chExt cx="2589205" cy="657187"/>
            </a:xfrm>
          </p:grpSpPr>
          <p:sp>
            <p:nvSpPr>
              <p:cNvPr id="210" name="TextBox 209">
                <a:extLst>
                  <a:ext uri="{FF2B5EF4-FFF2-40B4-BE49-F238E27FC236}">
                    <a16:creationId xmlns:a16="http://schemas.microsoft.com/office/drawing/2014/main" id="{BBEF1EB2-B313-48B0-B9EA-7D57948A546D}"/>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Gain real time insights and improve business processes</a:t>
                </a:r>
              </a:p>
            </p:txBody>
          </p:sp>
          <p:sp>
            <p:nvSpPr>
              <p:cNvPr id="211" name="TextBox 210">
                <a:extLst>
                  <a:ext uri="{FF2B5EF4-FFF2-40B4-BE49-F238E27FC236}">
                    <a16:creationId xmlns:a16="http://schemas.microsoft.com/office/drawing/2014/main" id="{41CAF5AF-062A-40C4-B6E9-40565FA9DF63}"/>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THINGS</a:t>
                </a:r>
              </a:p>
            </p:txBody>
          </p:sp>
        </p:grpSp>
      </p:grpSp>
    </p:spTree>
    <p:extLst>
      <p:ext uri="{BB962C8B-B14F-4D97-AF65-F5344CB8AC3E}">
        <p14:creationId xmlns:p14="http://schemas.microsoft.com/office/powerpoint/2010/main" val="380333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7"/>
                                        </p:tgtEl>
                                        <p:attrNameLst>
                                          <p:attrName>style.visibility</p:attrName>
                                        </p:attrNameLst>
                                      </p:cBhvr>
                                      <p:to>
                                        <p:strVal val="visible"/>
                                      </p:to>
                                    </p:set>
                                    <p:animEffect transition="in" filter="fade">
                                      <p:cBhvr>
                                        <p:cTn id="12" dur="500"/>
                                        <p:tgtEl>
                                          <p:spTgt spid="2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226"/>
                                        </p:tgtEl>
                                        <p:attrNameLst>
                                          <p:attrName>style.visibility</p:attrName>
                                        </p:attrNameLst>
                                      </p:cBhvr>
                                      <p:to>
                                        <p:strVal val="visible"/>
                                      </p:to>
                                    </p:set>
                                    <p:animEffect transition="in" filter="fade">
                                      <p:cBhvr>
                                        <p:cTn id="21" dur="500"/>
                                        <p:tgtEl>
                                          <p:spTgt spid="226"/>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28"/>
                                        </p:tgtEl>
                                        <p:attrNameLst>
                                          <p:attrName>style.visibility</p:attrName>
                                        </p:attrNameLst>
                                      </p:cBhvr>
                                      <p:to>
                                        <p:strVal val="visible"/>
                                      </p:to>
                                    </p:set>
                                    <p:animEffect transition="in" filter="fade">
                                      <p:cBhvr>
                                        <p:cTn id="25" dur="500"/>
                                        <p:tgtEl>
                                          <p:spTgt spid="228"/>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234"/>
                                        </p:tgtEl>
                                        <p:attrNameLst>
                                          <p:attrName>style.visibility</p:attrName>
                                        </p:attrNameLst>
                                      </p:cBhvr>
                                      <p:to>
                                        <p:strVal val="visible"/>
                                      </p:to>
                                    </p:set>
                                    <p:animEffect transition="in" filter="fade">
                                      <p:cBhvr>
                                        <p:cTn id="29" dur="500"/>
                                        <p:tgtEl>
                                          <p:spTgt spid="234"/>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230"/>
                                        </p:tgtEl>
                                        <p:attrNameLst>
                                          <p:attrName>style.visibility</p:attrName>
                                        </p:attrNameLst>
                                      </p:cBhvr>
                                      <p:to>
                                        <p:strVal val="visible"/>
                                      </p:to>
                                    </p:set>
                                    <p:animEffect transition="in" filter="fade">
                                      <p:cBhvr>
                                        <p:cTn id="33" dur="500"/>
                                        <p:tgtEl>
                                          <p:spTgt spid="230"/>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31"/>
                                        </p:tgtEl>
                                        <p:attrNameLst>
                                          <p:attrName>style.visibility</p:attrName>
                                        </p:attrNameLst>
                                      </p:cBhvr>
                                      <p:to>
                                        <p:strVal val="visible"/>
                                      </p:to>
                                    </p:set>
                                    <p:animEffect transition="in" filter="fade">
                                      <p:cBhvr>
                                        <p:cTn id="37" dur="500"/>
                                        <p:tgtEl>
                                          <p:spTgt spid="231"/>
                                        </p:tgtEl>
                                      </p:cBhvr>
                                    </p:animEffect>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233"/>
                                        </p:tgtEl>
                                        <p:attrNameLst>
                                          <p:attrName>style.visibility</p:attrName>
                                        </p:attrNameLst>
                                      </p:cBhvr>
                                      <p:to>
                                        <p:strVal val="visible"/>
                                      </p:to>
                                    </p:set>
                                    <p:animEffect transition="in" filter="fade">
                                      <p:cBhvr>
                                        <p:cTn id="41" dur="500"/>
                                        <p:tgtEl>
                                          <p:spTgt spid="233"/>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par>
                          <p:cTn id="46" fill="hold">
                            <p:stCondLst>
                              <p:cond delay="4000"/>
                            </p:stCondLst>
                            <p:childTnLst>
                              <p:par>
                                <p:cTn id="47" presetID="10" presetClass="entr" presetSubtype="0" fill="hold" nodeType="after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par>
                          <p:cTn id="50" fill="hold">
                            <p:stCondLst>
                              <p:cond delay="4500"/>
                            </p:stCondLst>
                            <p:childTnLst>
                              <p:par>
                                <p:cTn id="51" presetID="10" presetClass="entr" presetSubtype="0" fill="hold"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childTnLst>
                          </p:cTn>
                        </p:par>
                        <p:par>
                          <p:cTn id="54" fill="hold">
                            <p:stCondLst>
                              <p:cond delay="5000"/>
                            </p:stCondLst>
                            <p:childTnLst>
                              <p:par>
                                <p:cTn id="55" presetID="10" presetClass="entr" presetSubtype="0" fill="hold" nodeType="afterEffect">
                                  <p:stCondLst>
                                    <p:cond delay="0"/>
                                  </p:stCondLst>
                                  <p:childTnLst>
                                    <p:set>
                                      <p:cBhvr>
                                        <p:cTn id="56" dur="1" fill="hold">
                                          <p:stCondLst>
                                            <p:cond delay="0"/>
                                          </p:stCondLst>
                                        </p:cTn>
                                        <p:tgtEl>
                                          <p:spTgt spid="227"/>
                                        </p:tgtEl>
                                        <p:attrNameLst>
                                          <p:attrName>style.visibility</p:attrName>
                                        </p:attrNameLst>
                                      </p:cBhvr>
                                      <p:to>
                                        <p:strVal val="visible"/>
                                      </p:to>
                                    </p:set>
                                    <p:animEffect transition="in" filter="fade">
                                      <p:cBhvr>
                                        <p:cTn id="57" dur="500"/>
                                        <p:tgtEl>
                                          <p:spTgt spid="227"/>
                                        </p:tgtEl>
                                      </p:cBhvr>
                                    </p:animEffect>
                                  </p:childTnLst>
                                </p:cTn>
                              </p:par>
                            </p:childTnLst>
                          </p:cTn>
                        </p:par>
                        <p:par>
                          <p:cTn id="58" fill="hold">
                            <p:stCondLst>
                              <p:cond delay="5500"/>
                            </p:stCondLst>
                            <p:childTnLst>
                              <p:par>
                                <p:cTn id="59" presetID="10" presetClass="entr" presetSubtype="0" fill="hold" nodeType="afterEffect">
                                  <p:stCondLst>
                                    <p:cond delay="0"/>
                                  </p:stCondLst>
                                  <p:childTnLst>
                                    <p:set>
                                      <p:cBhvr>
                                        <p:cTn id="60" dur="1" fill="hold">
                                          <p:stCondLst>
                                            <p:cond delay="0"/>
                                          </p:stCondLst>
                                        </p:cTn>
                                        <p:tgtEl>
                                          <p:spTgt spid="229"/>
                                        </p:tgtEl>
                                        <p:attrNameLst>
                                          <p:attrName>style.visibility</p:attrName>
                                        </p:attrNameLst>
                                      </p:cBhvr>
                                      <p:to>
                                        <p:strVal val="visible"/>
                                      </p:to>
                                    </p:set>
                                    <p:animEffect transition="in" filter="fade">
                                      <p:cBhvr>
                                        <p:cTn id="61" dur="500"/>
                                        <p:tgtEl>
                                          <p:spTgt spid="229"/>
                                        </p:tgtEl>
                                      </p:cBhvr>
                                    </p:animEffect>
                                  </p:childTnLst>
                                </p:cTn>
                              </p:par>
                            </p:childTnLst>
                          </p:cTn>
                        </p:par>
                        <p:par>
                          <p:cTn id="62" fill="hold">
                            <p:stCondLst>
                              <p:cond delay="6000"/>
                            </p:stCondLst>
                            <p:childTnLst>
                              <p:par>
                                <p:cTn id="63" presetID="10" presetClass="entr" presetSubtype="0" fill="hold" nodeType="afterEffect">
                                  <p:stCondLst>
                                    <p:cond delay="0"/>
                                  </p:stCondLst>
                                  <p:childTnLst>
                                    <p:set>
                                      <p:cBhvr>
                                        <p:cTn id="64" dur="1" fill="hold">
                                          <p:stCondLst>
                                            <p:cond delay="0"/>
                                          </p:stCondLst>
                                        </p:cTn>
                                        <p:tgtEl>
                                          <p:spTgt spid="232"/>
                                        </p:tgtEl>
                                        <p:attrNameLst>
                                          <p:attrName>style.visibility</p:attrName>
                                        </p:attrNameLst>
                                      </p:cBhvr>
                                      <p:to>
                                        <p:strVal val="visible"/>
                                      </p:to>
                                    </p:set>
                                    <p:animEffect transition="in" filter="fade">
                                      <p:cBhvr>
                                        <p:cTn id="65" dur="5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68A2C7-E7F4-45F3-9E26-4E18B4F7051B}"/>
              </a:ext>
            </a:extLst>
          </p:cNvPr>
          <p:cNvSpPr txBox="1">
            <a:spLocks noGrp="1"/>
          </p:cNvSpPr>
          <p:nvPr>
            <p:ph type="title"/>
          </p:nvPr>
        </p:nvSpPr>
        <p:spPr/>
        <p:txBody>
          <a:bodyPr anchor="ctr">
            <a:normAutofit fontScale="90000"/>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lumMod val="50000"/>
                  </a:schemeClr>
                </a:solidFill>
              </a:rPr>
              <a:t>IoT Solution Architecture</a:t>
            </a:r>
          </a:p>
        </p:txBody>
      </p:sp>
      <p:sp>
        <p:nvSpPr>
          <p:cNvPr id="135" name="Rectangle 134">
            <a:extLst>
              <a:ext uri="{FF2B5EF4-FFF2-40B4-BE49-F238E27FC236}">
                <a16:creationId xmlns:a16="http://schemas.microsoft.com/office/drawing/2014/main" id="{E0C3AE10-3D51-4313-B975-854380173D56}"/>
              </a:ext>
            </a:extLst>
          </p:cNvPr>
          <p:cNvSpPr/>
          <p:nvPr/>
        </p:nvSpPr>
        <p:spPr bwMode="auto">
          <a:xfrm>
            <a:off x="748738" y="1373367"/>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6" name="Rectangle 135">
            <a:extLst>
              <a:ext uri="{FF2B5EF4-FFF2-40B4-BE49-F238E27FC236}">
                <a16:creationId xmlns:a16="http://schemas.microsoft.com/office/drawing/2014/main" id="{BCFF9854-DEC6-455D-AC14-572C10785217}"/>
              </a:ext>
            </a:extLst>
          </p:cNvPr>
          <p:cNvSpPr/>
          <p:nvPr/>
        </p:nvSpPr>
        <p:spPr bwMode="auto">
          <a:xfrm>
            <a:off x="3954164" y="1373366"/>
            <a:ext cx="4362780"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7" name="Rectangle 136">
            <a:extLst>
              <a:ext uri="{FF2B5EF4-FFF2-40B4-BE49-F238E27FC236}">
                <a16:creationId xmlns:a16="http://schemas.microsoft.com/office/drawing/2014/main" id="{ECAB46E6-F32B-4A12-B5A3-56B6CD2C7BC2}"/>
              </a:ext>
            </a:extLst>
          </p:cNvPr>
          <p:cNvSpPr/>
          <p:nvPr/>
        </p:nvSpPr>
        <p:spPr bwMode="auto">
          <a:xfrm>
            <a:off x="8504464" y="1373366"/>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8" name="Oval 137">
            <a:extLst>
              <a:ext uri="{FF2B5EF4-FFF2-40B4-BE49-F238E27FC236}">
                <a16:creationId xmlns:a16="http://schemas.microsoft.com/office/drawing/2014/main" id="{B9EC1AD9-411C-4B8C-A9AE-B615CF5713FE}"/>
              </a:ext>
            </a:extLst>
          </p:cNvPr>
          <p:cNvSpPr/>
          <p:nvPr/>
        </p:nvSpPr>
        <p:spPr bwMode="auto">
          <a:xfrm>
            <a:off x="3253896" y="3373173"/>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dirty="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Cloud Gateway (IoT Hub)</a:t>
            </a:r>
          </a:p>
        </p:txBody>
      </p:sp>
      <p:sp>
        <p:nvSpPr>
          <p:cNvPr id="139" name="Oval 138">
            <a:extLst>
              <a:ext uri="{FF2B5EF4-FFF2-40B4-BE49-F238E27FC236}">
                <a16:creationId xmlns:a16="http://schemas.microsoft.com/office/drawing/2014/main" id="{10ECFD9B-7064-44D1-B2AF-2BE12692FB06}"/>
              </a:ext>
            </a:extLst>
          </p:cNvPr>
          <p:cNvSpPr/>
          <p:nvPr/>
        </p:nvSpPr>
        <p:spPr bwMode="auto">
          <a:xfrm>
            <a:off x="6577986" y="337317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Stream Processing</a:t>
            </a:r>
          </a:p>
        </p:txBody>
      </p:sp>
      <p:sp>
        <p:nvSpPr>
          <p:cNvPr id="140" name="Oval 139">
            <a:extLst>
              <a:ext uri="{FF2B5EF4-FFF2-40B4-BE49-F238E27FC236}">
                <a16:creationId xmlns:a16="http://schemas.microsoft.com/office/drawing/2014/main" id="{29E2A4FF-451A-4F59-B402-1E586D48E02C}"/>
              </a:ext>
            </a:extLst>
          </p:cNvPr>
          <p:cNvSpPr/>
          <p:nvPr/>
        </p:nvSpPr>
        <p:spPr bwMode="auto">
          <a:xfrm>
            <a:off x="6577987" y="192864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UI &amp; reporting Tools</a:t>
            </a:r>
          </a:p>
        </p:txBody>
      </p:sp>
      <p:sp>
        <p:nvSpPr>
          <p:cNvPr id="141" name="Oval 140">
            <a:extLst>
              <a:ext uri="{FF2B5EF4-FFF2-40B4-BE49-F238E27FC236}">
                <a16:creationId xmlns:a16="http://schemas.microsoft.com/office/drawing/2014/main" id="{FC74A09C-FB4C-4113-A406-7FF928DDA654}"/>
              </a:ext>
            </a:extLst>
          </p:cNvPr>
          <p:cNvSpPr/>
          <p:nvPr/>
        </p:nvSpPr>
        <p:spPr bwMode="auto">
          <a:xfrm>
            <a:off x="9993090" y="3373171"/>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3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Business Integration</a:t>
            </a:r>
          </a:p>
        </p:txBody>
      </p:sp>
      <p:sp>
        <p:nvSpPr>
          <p:cNvPr id="142" name="Cylinder 141">
            <a:extLst>
              <a:ext uri="{FF2B5EF4-FFF2-40B4-BE49-F238E27FC236}">
                <a16:creationId xmlns:a16="http://schemas.microsoft.com/office/drawing/2014/main" id="{BE7722B3-885A-4D41-B4D8-D613A981F380}"/>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Storage</a:t>
            </a:r>
          </a:p>
        </p:txBody>
      </p:sp>
      <p:cxnSp>
        <p:nvCxnSpPr>
          <p:cNvPr id="143" name="Connector: Elbow 142">
            <a:extLst>
              <a:ext uri="{FF2B5EF4-FFF2-40B4-BE49-F238E27FC236}">
                <a16:creationId xmlns:a16="http://schemas.microsoft.com/office/drawing/2014/main" id="{DF2D3681-8CDF-40F6-AF9A-0479812B857A}"/>
              </a:ext>
            </a:extLst>
          </p:cNvPr>
          <p:cNvCxnSpPr>
            <a:stCxn id="138" idx="6"/>
            <a:endCxn id="139" idx="2"/>
          </p:cNvCxnSpPr>
          <p:nvPr/>
        </p:nvCxnSpPr>
        <p:spPr>
          <a:xfrm flipV="1">
            <a:off x="4475709" y="3984079"/>
            <a:ext cx="2102277" cy="1"/>
          </a:xfrm>
          <a:prstGeom prst="bentConnector3">
            <a:avLst/>
          </a:prstGeom>
          <a:noFill/>
          <a:ln w="6350" cap="flat" cmpd="sng" algn="ctr">
            <a:solidFill>
              <a:sysClr val="windowText" lastClr="000000"/>
            </a:solidFill>
            <a:prstDash val="solid"/>
            <a:miter lim="800000"/>
            <a:headEnd type="none" w="lg" len="med"/>
            <a:tailEnd type="triangle"/>
          </a:ln>
          <a:effectLst/>
        </p:spPr>
      </p:cxnSp>
      <p:cxnSp>
        <p:nvCxnSpPr>
          <p:cNvPr id="144" name="Connector: Elbow 143">
            <a:extLst>
              <a:ext uri="{FF2B5EF4-FFF2-40B4-BE49-F238E27FC236}">
                <a16:creationId xmlns:a16="http://schemas.microsoft.com/office/drawing/2014/main" id="{63927075-A386-4CE8-B5BC-BED62D416890}"/>
              </a:ext>
            </a:extLst>
          </p:cNvPr>
          <p:cNvCxnSpPr>
            <a:cxnSpLocks/>
            <a:endCxn id="142" idx="2"/>
          </p:cNvCxnSpPr>
          <p:nvPr/>
        </p:nvCxnSpPr>
        <p:spPr>
          <a:xfrm>
            <a:off x="4387810" y="4300438"/>
            <a:ext cx="1939338" cy="934711"/>
          </a:xfrm>
          <a:prstGeom prst="bentConnector3">
            <a:avLst>
              <a:gd name="adj1" fmla="val 50000"/>
            </a:avLst>
          </a:prstGeom>
          <a:noFill/>
          <a:ln w="6350" cap="flat" cmpd="sng" algn="ctr">
            <a:solidFill>
              <a:sysClr val="windowText" lastClr="000000"/>
            </a:solidFill>
            <a:prstDash val="solid"/>
            <a:miter lim="800000"/>
            <a:headEnd type="none" w="lg" len="med"/>
            <a:tailEnd type="triangle"/>
          </a:ln>
          <a:effectLst/>
        </p:spPr>
      </p:cxnSp>
      <p:cxnSp>
        <p:nvCxnSpPr>
          <p:cNvPr id="145" name="Connector: Elbow 144">
            <a:extLst>
              <a:ext uri="{FF2B5EF4-FFF2-40B4-BE49-F238E27FC236}">
                <a16:creationId xmlns:a16="http://schemas.microsoft.com/office/drawing/2014/main" id="{27092EE8-798E-41C4-8667-6C1A10A50133}"/>
              </a:ext>
            </a:extLst>
          </p:cNvPr>
          <p:cNvCxnSpPr>
            <a:stCxn id="140" idx="4"/>
            <a:endCxn id="139" idx="0"/>
          </p:cNvCxnSpPr>
          <p:nvPr/>
        </p:nvCxnSpPr>
        <p:spPr>
          <a:xfrm rot="5400000">
            <a:off x="7077533" y="3261814"/>
            <a:ext cx="222718" cy="1"/>
          </a:xfrm>
          <a:prstGeom prst="bentConnector3">
            <a:avLst/>
          </a:prstGeom>
          <a:noFill/>
          <a:ln w="6350" cap="flat" cmpd="sng" algn="ctr">
            <a:solidFill>
              <a:sysClr val="windowText" lastClr="000000"/>
            </a:solidFill>
            <a:prstDash val="solid"/>
            <a:miter lim="800000"/>
            <a:headEnd type="triangle"/>
            <a:tailEnd type="triangle"/>
          </a:ln>
          <a:effectLst/>
        </p:spPr>
      </p:cxnSp>
      <p:cxnSp>
        <p:nvCxnSpPr>
          <p:cNvPr id="146" name="Straight Arrow Connector 145">
            <a:extLst>
              <a:ext uri="{FF2B5EF4-FFF2-40B4-BE49-F238E27FC236}">
                <a16:creationId xmlns:a16="http://schemas.microsoft.com/office/drawing/2014/main" id="{3312919B-A5D5-4C33-BD04-43F814E76CDD}"/>
              </a:ext>
            </a:extLst>
          </p:cNvPr>
          <p:cNvCxnSpPr>
            <a:cxnSpLocks/>
            <a:endCxn id="142" idx="1"/>
          </p:cNvCxnSpPr>
          <p:nvPr/>
        </p:nvCxnSpPr>
        <p:spPr>
          <a:xfrm flipH="1">
            <a:off x="6716999" y="4519541"/>
            <a:ext cx="153906" cy="226332"/>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47" name="Straight Arrow Connector 146">
            <a:extLst>
              <a:ext uri="{FF2B5EF4-FFF2-40B4-BE49-F238E27FC236}">
                <a16:creationId xmlns:a16="http://schemas.microsoft.com/office/drawing/2014/main" id="{A1D69802-69D7-422A-8C66-F1FED57DACF4}"/>
              </a:ext>
            </a:extLst>
          </p:cNvPr>
          <p:cNvCxnSpPr>
            <a:stCxn id="139" idx="6"/>
            <a:endCxn id="141" idx="2"/>
          </p:cNvCxnSpPr>
          <p:nvPr/>
        </p:nvCxnSpPr>
        <p:spPr>
          <a:xfrm flipV="1">
            <a:off x="7799798" y="3984078"/>
            <a:ext cx="2193292" cy="1"/>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48" name="Connector: Elbow 147">
            <a:extLst>
              <a:ext uri="{FF2B5EF4-FFF2-40B4-BE49-F238E27FC236}">
                <a16:creationId xmlns:a16="http://schemas.microsoft.com/office/drawing/2014/main" id="{E12B9AE9-4113-4BB2-A845-CDAA870F1468}"/>
              </a:ext>
            </a:extLst>
          </p:cNvPr>
          <p:cNvCxnSpPr>
            <a:cxnSpLocks/>
            <a:stCxn id="141" idx="0"/>
            <a:endCxn id="140" idx="6"/>
          </p:cNvCxnSpPr>
          <p:nvPr/>
        </p:nvCxnSpPr>
        <p:spPr>
          <a:xfrm rot="16200000" flipV="1">
            <a:off x="8785086" y="1554260"/>
            <a:ext cx="833623" cy="2804198"/>
          </a:xfrm>
          <a:prstGeom prst="bentConnector2">
            <a:avLst/>
          </a:prstGeom>
          <a:noFill/>
          <a:ln w="6350" cap="flat" cmpd="sng" algn="ctr">
            <a:solidFill>
              <a:sysClr val="windowText" lastClr="000000"/>
            </a:solidFill>
            <a:prstDash val="solid"/>
            <a:miter lim="800000"/>
            <a:headEnd type="none" w="lg" len="med"/>
            <a:tailEnd type="triangle"/>
          </a:ln>
          <a:effectLst/>
        </p:spPr>
      </p:cxnSp>
      <p:cxnSp>
        <p:nvCxnSpPr>
          <p:cNvPr id="149" name="Connector: Elbow 148">
            <a:extLst>
              <a:ext uri="{FF2B5EF4-FFF2-40B4-BE49-F238E27FC236}">
                <a16:creationId xmlns:a16="http://schemas.microsoft.com/office/drawing/2014/main" id="{94F6561E-95D0-4896-8D5B-2B584EA95ABD}"/>
              </a:ext>
            </a:extLst>
          </p:cNvPr>
          <p:cNvCxnSpPr>
            <a:cxnSpLocks/>
            <a:stCxn id="142" idx="3"/>
            <a:endCxn id="141" idx="4"/>
          </p:cNvCxnSpPr>
          <p:nvPr/>
        </p:nvCxnSpPr>
        <p:spPr>
          <a:xfrm rot="5400000" flipH="1" flipV="1">
            <a:off x="8095777" y="3216205"/>
            <a:ext cx="1129440" cy="3886996"/>
          </a:xfrm>
          <a:prstGeom prst="bentConnector3">
            <a:avLst>
              <a:gd name="adj1" fmla="val -5448"/>
            </a:avLst>
          </a:prstGeom>
          <a:noFill/>
          <a:ln w="6350" cap="flat" cmpd="sng" algn="ctr">
            <a:solidFill>
              <a:sysClr val="windowText" lastClr="000000"/>
            </a:solidFill>
            <a:prstDash val="solid"/>
            <a:miter lim="800000"/>
            <a:headEnd type="none" w="lg" len="med"/>
            <a:tailEnd type="triangle"/>
          </a:ln>
          <a:effectLst/>
        </p:spPr>
      </p:cxnSp>
      <p:sp>
        <p:nvSpPr>
          <p:cNvPr id="150" name="Rectangle 149">
            <a:extLst>
              <a:ext uri="{FF2B5EF4-FFF2-40B4-BE49-F238E27FC236}">
                <a16:creationId xmlns:a16="http://schemas.microsoft.com/office/drawing/2014/main" id="{5B426BA5-89AD-4040-B0BD-5CF7A07C94F9}"/>
              </a:ext>
            </a:extLst>
          </p:cNvPr>
          <p:cNvSpPr/>
          <p:nvPr/>
        </p:nvSpPr>
        <p:spPr>
          <a:xfrm flipH="1">
            <a:off x="1015781" y="6235924"/>
            <a:ext cx="748603"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Things</a:t>
            </a:r>
          </a:p>
        </p:txBody>
      </p:sp>
      <p:sp>
        <p:nvSpPr>
          <p:cNvPr id="151" name="Rectangle 150">
            <a:extLst>
              <a:ext uri="{FF2B5EF4-FFF2-40B4-BE49-F238E27FC236}">
                <a16:creationId xmlns:a16="http://schemas.microsoft.com/office/drawing/2014/main" id="{32BD5EAE-B11E-4694-9813-3CFF480DB395}"/>
              </a:ext>
            </a:extLst>
          </p:cNvPr>
          <p:cNvSpPr/>
          <p:nvPr/>
        </p:nvSpPr>
        <p:spPr>
          <a:xfrm flipH="1">
            <a:off x="4813988" y="6245900"/>
            <a:ext cx="878446"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Insights</a:t>
            </a:r>
          </a:p>
        </p:txBody>
      </p:sp>
      <p:sp>
        <p:nvSpPr>
          <p:cNvPr id="152" name="Rectangle 151">
            <a:extLst>
              <a:ext uri="{FF2B5EF4-FFF2-40B4-BE49-F238E27FC236}">
                <a16:creationId xmlns:a16="http://schemas.microsoft.com/office/drawing/2014/main" id="{C2AD7EBF-8B6E-4796-BF9B-4EA2C28D7BAB}"/>
              </a:ext>
            </a:extLst>
          </p:cNvPr>
          <p:cNvSpPr/>
          <p:nvPr/>
        </p:nvSpPr>
        <p:spPr>
          <a:xfrm flipH="1">
            <a:off x="8812983" y="6235923"/>
            <a:ext cx="838371"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Actions</a:t>
            </a:r>
          </a:p>
        </p:txBody>
      </p:sp>
      <p:sp>
        <p:nvSpPr>
          <p:cNvPr id="153" name="TextBox 152">
            <a:extLst>
              <a:ext uri="{FF2B5EF4-FFF2-40B4-BE49-F238E27FC236}">
                <a16:creationId xmlns:a16="http://schemas.microsoft.com/office/drawing/2014/main" id="{C1B276B6-D8BC-4B34-B7DD-52EF93432BB5}"/>
              </a:ext>
            </a:extLst>
          </p:cNvPr>
          <p:cNvSpPr txBox="1"/>
          <p:nvPr/>
        </p:nvSpPr>
        <p:spPr>
          <a:xfrm>
            <a:off x="5537401" y="5067393"/>
            <a:ext cx="585097"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tore data</a:t>
            </a:r>
          </a:p>
        </p:txBody>
      </p:sp>
      <p:sp>
        <p:nvSpPr>
          <p:cNvPr id="154" name="TextBox 153">
            <a:extLst>
              <a:ext uri="{FF2B5EF4-FFF2-40B4-BE49-F238E27FC236}">
                <a16:creationId xmlns:a16="http://schemas.microsoft.com/office/drawing/2014/main" id="{69920BC8-ADFF-4AC0-9A41-DAAC6CAFEB6A}"/>
              </a:ext>
            </a:extLst>
          </p:cNvPr>
          <p:cNvSpPr txBox="1"/>
          <p:nvPr/>
        </p:nvSpPr>
        <p:spPr>
          <a:xfrm>
            <a:off x="8641090" y="5594586"/>
            <a:ext cx="1768113"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Integrate with Business process</a:t>
            </a:r>
          </a:p>
        </p:txBody>
      </p:sp>
      <p:sp>
        <p:nvSpPr>
          <p:cNvPr id="155" name="TextBox 154">
            <a:extLst>
              <a:ext uri="{FF2B5EF4-FFF2-40B4-BE49-F238E27FC236}">
                <a16:creationId xmlns:a16="http://schemas.microsoft.com/office/drawing/2014/main" id="{971C44F7-0EFC-4B34-865B-0528BA79B0A3}"/>
              </a:ext>
            </a:extLst>
          </p:cNvPr>
          <p:cNvSpPr txBox="1"/>
          <p:nvPr/>
        </p:nvSpPr>
        <p:spPr>
          <a:xfrm>
            <a:off x="4701671" y="3590797"/>
            <a:ext cx="1511632" cy="307777"/>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tream processing and</a:t>
            </a:r>
          </a:p>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rules evaluations over data</a:t>
            </a:r>
          </a:p>
        </p:txBody>
      </p:sp>
      <p:sp>
        <p:nvSpPr>
          <p:cNvPr id="156" name="TextBox 155">
            <a:extLst>
              <a:ext uri="{FF2B5EF4-FFF2-40B4-BE49-F238E27FC236}">
                <a16:creationId xmlns:a16="http://schemas.microsoft.com/office/drawing/2014/main" id="{A8AB43D5-FEBC-48D3-AB78-C7402E5B1D0D}"/>
              </a:ext>
            </a:extLst>
          </p:cNvPr>
          <p:cNvSpPr txBox="1"/>
          <p:nvPr/>
        </p:nvSpPr>
        <p:spPr>
          <a:xfrm>
            <a:off x="8700793" y="2568176"/>
            <a:ext cx="1570944"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Visualize data and learnings</a:t>
            </a:r>
          </a:p>
        </p:txBody>
      </p:sp>
      <p:cxnSp>
        <p:nvCxnSpPr>
          <p:cNvPr id="157" name="Connector: Elbow 156">
            <a:extLst>
              <a:ext uri="{FF2B5EF4-FFF2-40B4-BE49-F238E27FC236}">
                <a16:creationId xmlns:a16="http://schemas.microsoft.com/office/drawing/2014/main" id="{83879404-6F0D-4E81-A3E1-8A2379E42693}"/>
              </a:ext>
            </a:extLst>
          </p:cNvPr>
          <p:cNvCxnSpPr>
            <a:stCxn id="140" idx="2"/>
            <a:endCxn id="138" idx="7"/>
          </p:cNvCxnSpPr>
          <p:nvPr/>
        </p:nvCxnSpPr>
        <p:spPr>
          <a:xfrm rot="10800000" flipV="1">
            <a:off x="4296779" y="2539548"/>
            <a:ext cx="2281209" cy="1012555"/>
          </a:xfrm>
          <a:prstGeom prst="bentConnector2">
            <a:avLst/>
          </a:prstGeom>
          <a:noFill/>
          <a:ln w="6350" cap="flat" cmpd="sng" algn="ctr">
            <a:solidFill>
              <a:sysClr val="windowText" lastClr="000000"/>
            </a:solidFill>
            <a:prstDash val="solid"/>
            <a:miter lim="800000"/>
            <a:headEnd type="none" w="lg" len="med"/>
            <a:tailEnd type="triangle"/>
          </a:ln>
          <a:effectLst/>
        </p:spPr>
      </p:cxnSp>
      <p:sp>
        <p:nvSpPr>
          <p:cNvPr id="158" name="TextBox 157">
            <a:extLst>
              <a:ext uri="{FF2B5EF4-FFF2-40B4-BE49-F238E27FC236}">
                <a16:creationId xmlns:a16="http://schemas.microsoft.com/office/drawing/2014/main" id="{15EAF560-435D-45FB-A141-A03FD99BCF5D}"/>
              </a:ext>
            </a:extLst>
          </p:cNvPr>
          <p:cNvSpPr txBox="1"/>
          <p:nvPr/>
        </p:nvSpPr>
        <p:spPr>
          <a:xfrm>
            <a:off x="4736314" y="2342905"/>
            <a:ext cx="1242328"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Configure and control</a:t>
            </a:r>
          </a:p>
        </p:txBody>
      </p:sp>
      <p:cxnSp>
        <p:nvCxnSpPr>
          <p:cNvPr id="159" name="Connector: Elbow 158">
            <a:extLst>
              <a:ext uri="{FF2B5EF4-FFF2-40B4-BE49-F238E27FC236}">
                <a16:creationId xmlns:a16="http://schemas.microsoft.com/office/drawing/2014/main" id="{8B6AFF43-E541-4F9B-B0A9-7BDF367286C9}"/>
              </a:ext>
            </a:extLst>
          </p:cNvPr>
          <p:cNvCxnSpPr>
            <a:cxnSpLocks/>
            <a:stCxn id="160" idx="6"/>
          </p:cNvCxnSpPr>
          <p:nvPr/>
        </p:nvCxnSpPr>
        <p:spPr>
          <a:xfrm flipV="1">
            <a:off x="2806920" y="4594983"/>
            <a:ext cx="765166" cy="847490"/>
          </a:xfrm>
          <a:prstGeom prst="bentConnector2">
            <a:avLst/>
          </a:prstGeom>
          <a:noFill/>
          <a:ln w="6350" cap="flat" cmpd="sng" algn="ctr">
            <a:solidFill>
              <a:sysClr val="windowText" lastClr="000000"/>
            </a:solidFill>
            <a:prstDash val="solid"/>
            <a:miter lim="800000"/>
            <a:headEnd type="triangle"/>
            <a:tailEnd type="triangle"/>
          </a:ln>
          <a:effectLst/>
        </p:spPr>
      </p:cxnSp>
      <p:sp>
        <p:nvSpPr>
          <p:cNvPr id="160" name="Oval 159">
            <a:extLst>
              <a:ext uri="{FF2B5EF4-FFF2-40B4-BE49-F238E27FC236}">
                <a16:creationId xmlns:a16="http://schemas.microsoft.com/office/drawing/2014/main" id="{FF3BF54C-B025-42D6-B7DA-C7F8D5C88149}"/>
              </a:ext>
            </a:extLst>
          </p:cNvPr>
          <p:cNvSpPr/>
          <p:nvPr/>
        </p:nvSpPr>
        <p:spPr bwMode="auto">
          <a:xfrm>
            <a:off x="1748818" y="4913422"/>
            <a:ext cx="1058102" cy="1058102"/>
          </a:xfrm>
          <a:prstGeom prst="ellipse">
            <a:avLst/>
          </a:prstGeom>
          <a:solidFill>
            <a:srgbClr val="0078D4"/>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IoT Devices</a:t>
            </a:r>
          </a:p>
        </p:txBody>
      </p:sp>
      <p:sp>
        <p:nvSpPr>
          <p:cNvPr id="161" name="TextBox 160">
            <a:extLst>
              <a:ext uri="{FF2B5EF4-FFF2-40B4-BE49-F238E27FC236}">
                <a16:creationId xmlns:a16="http://schemas.microsoft.com/office/drawing/2014/main" id="{1A3C109B-2929-47F4-A780-94EE16D5664A}"/>
              </a:ext>
            </a:extLst>
          </p:cNvPr>
          <p:cNvSpPr txBox="1"/>
          <p:nvPr/>
        </p:nvSpPr>
        <p:spPr>
          <a:xfrm>
            <a:off x="818723" y="5068119"/>
            <a:ext cx="921988" cy="769241"/>
          </a:xfrm>
          <a:prstGeom prst="rect">
            <a:avLst/>
          </a:prstGeom>
          <a:noFill/>
        </p:spPr>
        <p:txBody>
          <a:bodyPr wrap="squar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IP Capable devices</a:t>
            </a:r>
          </a:p>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end data from devices to Cloud</a:t>
            </a:r>
          </a:p>
        </p:txBody>
      </p:sp>
      <p:sp>
        <p:nvSpPr>
          <p:cNvPr id="162" name="Cylinder 161">
            <a:extLst>
              <a:ext uri="{FF2B5EF4-FFF2-40B4-BE49-F238E27FC236}">
                <a16:creationId xmlns:a16="http://schemas.microsoft.com/office/drawing/2014/main" id="{AEF45AB7-F572-4C14-912F-E664985132B8}"/>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Warm</a:t>
            </a:r>
          </a:p>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Path store</a:t>
            </a:r>
          </a:p>
        </p:txBody>
      </p:sp>
      <p:sp>
        <p:nvSpPr>
          <p:cNvPr id="163" name="Cylinder 162">
            <a:extLst>
              <a:ext uri="{FF2B5EF4-FFF2-40B4-BE49-F238E27FC236}">
                <a16:creationId xmlns:a16="http://schemas.microsoft.com/office/drawing/2014/main" id="{720AEB84-8D6C-401B-8932-6254FDCEDDDC}"/>
              </a:ext>
            </a:extLst>
          </p:cNvPr>
          <p:cNvSpPr/>
          <p:nvPr/>
        </p:nvSpPr>
        <p:spPr bwMode="auto">
          <a:xfrm>
            <a:off x="7321376" y="4745872"/>
            <a:ext cx="779703" cy="978550"/>
          </a:xfrm>
          <a:prstGeom prst="can">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Cold</a:t>
            </a:r>
          </a:p>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Path store</a:t>
            </a:r>
          </a:p>
        </p:txBody>
      </p:sp>
      <p:sp>
        <p:nvSpPr>
          <p:cNvPr id="164" name="Oval 163">
            <a:extLst>
              <a:ext uri="{FF2B5EF4-FFF2-40B4-BE49-F238E27FC236}">
                <a16:creationId xmlns:a16="http://schemas.microsoft.com/office/drawing/2014/main" id="{D9579969-42AF-42BB-B1A1-1DEB31744609}"/>
              </a:ext>
            </a:extLst>
          </p:cNvPr>
          <p:cNvSpPr/>
          <p:nvPr/>
        </p:nvSpPr>
        <p:spPr bwMode="auto">
          <a:xfrm>
            <a:off x="4614722" y="4361337"/>
            <a:ext cx="1463438" cy="687851"/>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2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Data Transformation</a:t>
            </a:r>
          </a:p>
        </p:txBody>
      </p:sp>
      <p:sp>
        <p:nvSpPr>
          <p:cNvPr id="165" name="Oval 164">
            <a:extLst>
              <a:ext uri="{FF2B5EF4-FFF2-40B4-BE49-F238E27FC236}">
                <a16:creationId xmlns:a16="http://schemas.microsoft.com/office/drawing/2014/main" id="{28E1089B-ED5A-46F5-9E45-992CABEF1D0B}"/>
              </a:ext>
            </a:extLst>
          </p:cNvPr>
          <p:cNvSpPr/>
          <p:nvPr/>
        </p:nvSpPr>
        <p:spPr bwMode="auto">
          <a:xfrm>
            <a:off x="8700133" y="4265013"/>
            <a:ext cx="1221813" cy="1221813"/>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Machine Learning</a:t>
            </a:r>
          </a:p>
        </p:txBody>
      </p:sp>
      <p:cxnSp>
        <p:nvCxnSpPr>
          <p:cNvPr id="166" name="Straight Arrow Connector 165">
            <a:extLst>
              <a:ext uri="{FF2B5EF4-FFF2-40B4-BE49-F238E27FC236}">
                <a16:creationId xmlns:a16="http://schemas.microsoft.com/office/drawing/2014/main" id="{AD334FCF-C151-4E35-A183-C583E0BE809A}"/>
              </a:ext>
            </a:extLst>
          </p:cNvPr>
          <p:cNvCxnSpPr>
            <a:cxnSpLocks/>
          </p:cNvCxnSpPr>
          <p:nvPr/>
        </p:nvCxnSpPr>
        <p:spPr>
          <a:xfrm>
            <a:off x="7499562" y="4532004"/>
            <a:ext cx="211665" cy="213869"/>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67" name="Straight Arrow Connector 166">
            <a:extLst>
              <a:ext uri="{FF2B5EF4-FFF2-40B4-BE49-F238E27FC236}">
                <a16:creationId xmlns:a16="http://schemas.microsoft.com/office/drawing/2014/main" id="{A2112EB5-4DE4-42C8-8ADB-17B728DF6688}"/>
              </a:ext>
            </a:extLst>
          </p:cNvPr>
          <p:cNvCxnSpPr>
            <a:cxnSpLocks/>
          </p:cNvCxnSpPr>
          <p:nvPr/>
        </p:nvCxnSpPr>
        <p:spPr>
          <a:xfrm flipH="1">
            <a:off x="8101078" y="4875919"/>
            <a:ext cx="599054" cy="359228"/>
          </a:xfrm>
          <a:prstGeom prst="straightConnector1">
            <a:avLst/>
          </a:prstGeom>
          <a:noFill/>
          <a:ln w="6350" cap="flat" cmpd="sng" algn="ctr">
            <a:solidFill>
              <a:sysClr val="windowText" lastClr="000000"/>
            </a:solidFill>
            <a:prstDash val="solid"/>
            <a:miter lim="800000"/>
            <a:headEnd type="triangle"/>
            <a:tailEnd type="triangle"/>
          </a:ln>
          <a:effectLst/>
        </p:spPr>
      </p:cxnSp>
      <p:grpSp>
        <p:nvGrpSpPr>
          <p:cNvPr id="168" name="Group 167">
            <a:extLst>
              <a:ext uri="{FF2B5EF4-FFF2-40B4-BE49-F238E27FC236}">
                <a16:creationId xmlns:a16="http://schemas.microsoft.com/office/drawing/2014/main" id="{956A417B-D6FF-4BA9-9F2A-6037D8FF847C}"/>
              </a:ext>
            </a:extLst>
          </p:cNvPr>
          <p:cNvGrpSpPr/>
          <p:nvPr/>
        </p:nvGrpSpPr>
        <p:grpSpPr>
          <a:xfrm>
            <a:off x="5900355" y="6021454"/>
            <a:ext cx="429769" cy="429769"/>
            <a:chOff x="5086392" y="1448771"/>
            <a:chExt cx="1261176" cy="1261176"/>
          </a:xfrm>
        </p:grpSpPr>
        <p:sp>
          <p:nvSpPr>
            <p:cNvPr id="169" name="Oval 168">
              <a:extLst>
                <a:ext uri="{FF2B5EF4-FFF2-40B4-BE49-F238E27FC236}">
                  <a16:creationId xmlns:a16="http://schemas.microsoft.com/office/drawing/2014/main" id="{A7C6A3C7-CE05-4035-91E1-3E541F002D95}"/>
                </a:ext>
              </a:extLst>
            </p:cNvPr>
            <p:cNvSpPr/>
            <p:nvPr/>
          </p:nvSpPr>
          <p:spPr bwMode="auto">
            <a:xfrm>
              <a:off x="5086392" y="1448771"/>
              <a:ext cx="1261176" cy="1261176"/>
            </a:xfrm>
            <a:prstGeom prst="ellipse">
              <a:avLst/>
            </a:prstGeom>
            <a:noFill/>
            <a:ln w="19050" cap="flat" cmpd="sng" algn="ctr">
              <a:solidFill>
                <a:srgbClr val="0478D4"/>
              </a:solidFill>
              <a:prstDash val="solid"/>
              <a:miter lim="800000"/>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799">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sym typeface="Segoe UI Semibold"/>
              </a:endParaRPr>
            </a:p>
          </p:txBody>
        </p:sp>
        <p:sp>
          <p:nvSpPr>
            <p:cNvPr id="170" name="Freeform: Shape 169">
              <a:extLst>
                <a:ext uri="{FF2B5EF4-FFF2-40B4-BE49-F238E27FC236}">
                  <a16:creationId xmlns:a16="http://schemas.microsoft.com/office/drawing/2014/main" id="{41E089EC-ABFC-4764-BE80-2E80393CD401}"/>
                </a:ext>
              </a:extLst>
            </p:cNvPr>
            <p:cNvSpPr>
              <a:spLocks/>
            </p:cNvSpPr>
            <p:nvPr/>
          </p:nvSpPr>
          <p:spPr bwMode="auto">
            <a:xfrm>
              <a:off x="5452870" y="1674731"/>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65532 w 528287"/>
                <a:gd name="connsiteY33" fmla="*/ 281902 h 858155"/>
                <a:gd name="connsiteX34" fmla="*/ 117970 w 528287"/>
                <a:gd name="connsiteY34" fmla="*/ 409570 h 858155"/>
                <a:gd name="connsiteX35" fmla="*/ 183636 w 528287"/>
                <a:gd name="connsiteY35" fmla="*/ 538652 h 858155"/>
                <a:gd name="connsiteX36" fmla="*/ 197809 w 528287"/>
                <a:gd name="connsiteY36" fmla="*/ 621566 h 858155"/>
                <a:gd name="connsiteX37" fmla="*/ 142064 w 528287"/>
                <a:gd name="connsiteY37" fmla="*/ 621566 h 858155"/>
                <a:gd name="connsiteX38" fmla="*/ 134977 w 528287"/>
                <a:gd name="connsiteY38" fmla="*/ 614028 h 858155"/>
                <a:gd name="connsiteX39" fmla="*/ 93405 w 528287"/>
                <a:gd name="connsiteY39" fmla="*/ 493426 h 858155"/>
                <a:gd name="connsiteX40" fmla="*/ 28684 w 528287"/>
                <a:gd name="connsiteY40" fmla="*/ 376122 h 858155"/>
                <a:gd name="connsiteX41" fmla="*/ 6008 w 528287"/>
                <a:gd name="connsiteY41" fmla="*/ 196632 h 858155"/>
                <a:gd name="connsiteX42" fmla="*/ 131671 w 528287"/>
                <a:gd name="connsiteY42" fmla="*/ 32218 h 858155"/>
                <a:gd name="connsiteX43" fmla="*/ 266900 w 528287"/>
                <a:gd name="connsiteY43"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17970 w 528287"/>
                <a:gd name="connsiteY33" fmla="*/ 409570 h 858155"/>
                <a:gd name="connsiteX34" fmla="*/ 183636 w 528287"/>
                <a:gd name="connsiteY34" fmla="*/ 538652 h 858155"/>
                <a:gd name="connsiteX35" fmla="*/ 197809 w 528287"/>
                <a:gd name="connsiteY35" fmla="*/ 621566 h 858155"/>
                <a:gd name="connsiteX36" fmla="*/ 142064 w 528287"/>
                <a:gd name="connsiteY36" fmla="*/ 621566 h 858155"/>
                <a:gd name="connsiteX37" fmla="*/ 134977 w 528287"/>
                <a:gd name="connsiteY37" fmla="*/ 614028 h 858155"/>
                <a:gd name="connsiteX38" fmla="*/ 93405 w 528287"/>
                <a:gd name="connsiteY38" fmla="*/ 493426 h 858155"/>
                <a:gd name="connsiteX39" fmla="*/ 28684 w 528287"/>
                <a:gd name="connsiteY39" fmla="*/ 376122 h 858155"/>
                <a:gd name="connsiteX40" fmla="*/ 6008 w 528287"/>
                <a:gd name="connsiteY40" fmla="*/ 196632 h 858155"/>
                <a:gd name="connsiteX41" fmla="*/ 131671 w 528287"/>
                <a:gd name="connsiteY41" fmla="*/ 32218 h 858155"/>
                <a:gd name="connsiteX42" fmla="*/ 266900 w 528287"/>
                <a:gd name="connsiteY42"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117970 w 528287"/>
                <a:gd name="connsiteY32" fmla="*/ 409570 h 858155"/>
                <a:gd name="connsiteX33" fmla="*/ 183636 w 528287"/>
                <a:gd name="connsiteY33" fmla="*/ 538652 h 858155"/>
                <a:gd name="connsiteX34" fmla="*/ 197809 w 528287"/>
                <a:gd name="connsiteY34" fmla="*/ 621566 h 858155"/>
                <a:gd name="connsiteX35" fmla="*/ 142064 w 528287"/>
                <a:gd name="connsiteY35" fmla="*/ 621566 h 858155"/>
                <a:gd name="connsiteX36" fmla="*/ 134977 w 528287"/>
                <a:gd name="connsiteY36" fmla="*/ 614028 h 858155"/>
                <a:gd name="connsiteX37" fmla="*/ 93405 w 528287"/>
                <a:gd name="connsiteY37" fmla="*/ 493426 h 858155"/>
                <a:gd name="connsiteX38" fmla="*/ 28684 w 528287"/>
                <a:gd name="connsiteY38" fmla="*/ 376122 h 858155"/>
                <a:gd name="connsiteX39" fmla="*/ 6008 w 528287"/>
                <a:gd name="connsiteY39" fmla="*/ 196632 h 858155"/>
                <a:gd name="connsiteX40" fmla="*/ 131671 w 528287"/>
                <a:gd name="connsiteY40" fmla="*/ 32218 h 858155"/>
                <a:gd name="connsiteX41" fmla="*/ 266900 w 528287"/>
                <a:gd name="connsiteY41"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117970 w 528287"/>
                <a:gd name="connsiteY31" fmla="*/ 409570 h 858155"/>
                <a:gd name="connsiteX32" fmla="*/ 183636 w 528287"/>
                <a:gd name="connsiteY32" fmla="*/ 538652 h 858155"/>
                <a:gd name="connsiteX33" fmla="*/ 197809 w 528287"/>
                <a:gd name="connsiteY33" fmla="*/ 621566 h 858155"/>
                <a:gd name="connsiteX34" fmla="*/ 142064 w 528287"/>
                <a:gd name="connsiteY34" fmla="*/ 621566 h 858155"/>
                <a:gd name="connsiteX35" fmla="*/ 134977 w 528287"/>
                <a:gd name="connsiteY35" fmla="*/ 614028 h 858155"/>
                <a:gd name="connsiteX36" fmla="*/ 93405 w 528287"/>
                <a:gd name="connsiteY36" fmla="*/ 493426 h 858155"/>
                <a:gd name="connsiteX37" fmla="*/ 28684 w 528287"/>
                <a:gd name="connsiteY37" fmla="*/ 376122 h 858155"/>
                <a:gd name="connsiteX38" fmla="*/ 6008 w 528287"/>
                <a:gd name="connsiteY38" fmla="*/ 196632 h 858155"/>
                <a:gd name="connsiteX39" fmla="*/ 131671 w 528287"/>
                <a:gd name="connsiteY39" fmla="*/ 32218 h 858155"/>
                <a:gd name="connsiteX40" fmla="*/ 266900 w 528287"/>
                <a:gd name="connsiteY40"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17970 w 528287"/>
                <a:gd name="connsiteY30" fmla="*/ 409570 h 858155"/>
                <a:gd name="connsiteX31" fmla="*/ 183636 w 528287"/>
                <a:gd name="connsiteY31" fmla="*/ 538652 h 858155"/>
                <a:gd name="connsiteX32" fmla="*/ 197809 w 528287"/>
                <a:gd name="connsiteY32" fmla="*/ 621566 h 858155"/>
                <a:gd name="connsiteX33" fmla="*/ 142064 w 528287"/>
                <a:gd name="connsiteY33" fmla="*/ 621566 h 858155"/>
                <a:gd name="connsiteX34" fmla="*/ 134977 w 528287"/>
                <a:gd name="connsiteY34" fmla="*/ 614028 h 858155"/>
                <a:gd name="connsiteX35" fmla="*/ 93405 w 528287"/>
                <a:gd name="connsiteY35" fmla="*/ 493426 h 858155"/>
                <a:gd name="connsiteX36" fmla="*/ 28684 w 528287"/>
                <a:gd name="connsiteY36" fmla="*/ 376122 h 858155"/>
                <a:gd name="connsiteX37" fmla="*/ 6008 w 528287"/>
                <a:gd name="connsiteY37" fmla="*/ 196632 h 858155"/>
                <a:gd name="connsiteX38" fmla="*/ 131671 w 528287"/>
                <a:gd name="connsiteY38" fmla="*/ 32218 h 858155"/>
                <a:gd name="connsiteX39" fmla="*/ 266900 w 528287"/>
                <a:gd name="connsiteY39"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83636 w 528287"/>
                <a:gd name="connsiteY30" fmla="*/ 538652 h 858155"/>
                <a:gd name="connsiteX31" fmla="*/ 197809 w 528287"/>
                <a:gd name="connsiteY31" fmla="*/ 621566 h 858155"/>
                <a:gd name="connsiteX32" fmla="*/ 142064 w 528287"/>
                <a:gd name="connsiteY32" fmla="*/ 621566 h 858155"/>
                <a:gd name="connsiteX33" fmla="*/ 134977 w 528287"/>
                <a:gd name="connsiteY33" fmla="*/ 614028 h 858155"/>
                <a:gd name="connsiteX34" fmla="*/ 93405 w 528287"/>
                <a:gd name="connsiteY34" fmla="*/ 493426 h 858155"/>
                <a:gd name="connsiteX35" fmla="*/ 28684 w 528287"/>
                <a:gd name="connsiteY35" fmla="*/ 376122 h 858155"/>
                <a:gd name="connsiteX36" fmla="*/ 6008 w 528287"/>
                <a:gd name="connsiteY36" fmla="*/ 196632 h 858155"/>
                <a:gd name="connsiteX37" fmla="*/ 131671 w 528287"/>
                <a:gd name="connsiteY37" fmla="*/ 32218 h 858155"/>
                <a:gd name="connsiteX38" fmla="*/ 266900 w 528287"/>
                <a:gd name="connsiteY38"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97809 w 528287"/>
                <a:gd name="connsiteY30" fmla="*/ 621566 h 858155"/>
                <a:gd name="connsiteX31" fmla="*/ 142064 w 528287"/>
                <a:gd name="connsiteY31" fmla="*/ 621566 h 858155"/>
                <a:gd name="connsiteX32" fmla="*/ 134977 w 528287"/>
                <a:gd name="connsiteY32" fmla="*/ 614028 h 858155"/>
                <a:gd name="connsiteX33" fmla="*/ 93405 w 528287"/>
                <a:gd name="connsiteY33" fmla="*/ 493426 h 858155"/>
                <a:gd name="connsiteX34" fmla="*/ 28684 w 528287"/>
                <a:gd name="connsiteY34" fmla="*/ 376122 h 858155"/>
                <a:gd name="connsiteX35" fmla="*/ 6008 w 528287"/>
                <a:gd name="connsiteY35" fmla="*/ 196632 h 858155"/>
                <a:gd name="connsiteX36" fmla="*/ 131671 w 528287"/>
                <a:gd name="connsiteY36" fmla="*/ 32218 h 858155"/>
                <a:gd name="connsiteX37" fmla="*/ 266900 w 528287"/>
                <a:gd name="connsiteY37"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197809 w 528287"/>
                <a:gd name="connsiteY29" fmla="*/ 621566 h 858155"/>
                <a:gd name="connsiteX30" fmla="*/ 142064 w 528287"/>
                <a:gd name="connsiteY30" fmla="*/ 621566 h 858155"/>
                <a:gd name="connsiteX31" fmla="*/ 134977 w 528287"/>
                <a:gd name="connsiteY31" fmla="*/ 614028 h 858155"/>
                <a:gd name="connsiteX32" fmla="*/ 93405 w 528287"/>
                <a:gd name="connsiteY32" fmla="*/ 493426 h 858155"/>
                <a:gd name="connsiteX33" fmla="*/ 28684 w 528287"/>
                <a:gd name="connsiteY33" fmla="*/ 376122 h 858155"/>
                <a:gd name="connsiteX34" fmla="*/ 6008 w 528287"/>
                <a:gd name="connsiteY34" fmla="*/ 196632 h 858155"/>
                <a:gd name="connsiteX35" fmla="*/ 131671 w 528287"/>
                <a:gd name="connsiteY35" fmla="*/ 32218 h 858155"/>
                <a:gd name="connsiteX36" fmla="*/ 266900 w 528287"/>
                <a:gd name="connsiteY36"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8287" h="858155">
                  <a:moveTo>
                    <a:pt x="180897" y="808532"/>
                  </a:moveTo>
                  <a:lnTo>
                    <a:pt x="351275" y="808532"/>
                  </a:ln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lnTo>
                    <a:pt x="347585" y="731401"/>
                  </a:lnTo>
                  <a:cubicBezTo>
                    <a:pt x="365532" y="731401"/>
                    <a:pt x="375450" y="740280"/>
                    <a:pt x="375450" y="755235"/>
                  </a:cubicBezTo>
                  <a:cubicBezTo>
                    <a:pt x="374978" y="770189"/>
                    <a:pt x="365532" y="778134"/>
                    <a:pt x="347585" y="778134"/>
                  </a:cubicBezTo>
                  <a:cubicBezTo>
                    <a:pt x="320193" y="778601"/>
                    <a:pt x="292328" y="778601"/>
                    <a:pt x="264935" y="778601"/>
                  </a:cubicBezTo>
                  <a:lnTo>
                    <a:pt x="181813" y="778134"/>
                  </a:lnTo>
                  <a:cubicBezTo>
                    <a:pt x="165283" y="778134"/>
                    <a:pt x="154420" y="768787"/>
                    <a:pt x="154893" y="754300"/>
                  </a:cubicBezTo>
                  <a:cubicBezTo>
                    <a:pt x="155365" y="740280"/>
                    <a:pt x="165283" y="731401"/>
                    <a:pt x="182285" y="731401"/>
                  </a:cubicBezTo>
                  <a:close/>
                  <a:moveTo>
                    <a:pt x="174924" y="655422"/>
                  </a:moveTo>
                  <a:lnTo>
                    <a:pt x="354947" y="655422"/>
                  </a:lnTo>
                  <a:cubicBezTo>
                    <a:pt x="369633" y="655422"/>
                    <a:pt x="379581" y="664350"/>
                    <a:pt x="379581" y="677976"/>
                  </a:cubicBezTo>
                  <a:cubicBezTo>
                    <a:pt x="380055" y="691133"/>
                    <a:pt x="370107" y="701000"/>
                    <a:pt x="355421" y="701000"/>
                  </a:cubicBezTo>
                  <a:cubicBezTo>
                    <a:pt x="325575" y="701470"/>
                    <a:pt x="295255" y="701000"/>
                    <a:pt x="264935" y="701000"/>
                  </a:cubicBezTo>
                  <a:lnTo>
                    <a:pt x="175397" y="701000"/>
                  </a:ln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lnTo>
                    <a:pt x="331503" y="621095"/>
                  </a:lnTo>
                  <a:lnTo>
                    <a:pt x="197809" y="621566"/>
                  </a:ln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noFill/>
            <a:ln w="12700">
              <a:solidFill>
                <a:srgbClr val="0478D4"/>
              </a:solidFill>
              <a:round/>
              <a:headEnd/>
              <a:tailEnd/>
            </a:ln>
          </p:spPr>
          <p:txBody>
            <a:bodyPr vert="horz" wrap="square" lIns="93211" tIns="46605" rIns="93211" bIns="46605" numCol="1" anchor="t" anchorCtr="0" compatLnSpc="1">
              <a:prstTxWarp prst="textNoShape">
                <a:avLst/>
              </a:prstTxWarp>
              <a:noAutofit/>
            </a:bodyPr>
            <a:lstStyle/>
            <a:p>
              <a:pPr defTabSz="932227">
                <a:defRPr/>
              </a:pPr>
              <a:endParaRPr lang="en-US" sz="3999">
                <a:solidFill>
                  <a:srgbClr val="505050"/>
                </a:solidFill>
                <a:latin typeface="Segoe UI" panose="020B0502040204020203" pitchFamily="34" charset="0"/>
                <a:cs typeface="Segoe UI" panose="020B0502040204020203" pitchFamily="34" charset="0"/>
                <a:sym typeface="Segoe UI Semibold"/>
              </a:endParaRPr>
            </a:p>
          </p:txBody>
        </p:sp>
      </p:grpSp>
      <p:grpSp>
        <p:nvGrpSpPr>
          <p:cNvPr id="171" name="Group 170">
            <a:extLst>
              <a:ext uri="{FF2B5EF4-FFF2-40B4-BE49-F238E27FC236}">
                <a16:creationId xmlns:a16="http://schemas.microsoft.com/office/drawing/2014/main" id="{CB5545D4-D525-4AB9-8681-1769CCAE67C9}"/>
              </a:ext>
            </a:extLst>
          </p:cNvPr>
          <p:cNvGrpSpPr/>
          <p:nvPr/>
        </p:nvGrpSpPr>
        <p:grpSpPr>
          <a:xfrm>
            <a:off x="9778597" y="6029431"/>
            <a:ext cx="429769" cy="429769"/>
            <a:chOff x="9273302" y="2046197"/>
            <a:chExt cx="1426282" cy="1426282"/>
          </a:xfrm>
        </p:grpSpPr>
        <p:sp>
          <p:nvSpPr>
            <p:cNvPr id="172" name="Oval 171">
              <a:extLst>
                <a:ext uri="{FF2B5EF4-FFF2-40B4-BE49-F238E27FC236}">
                  <a16:creationId xmlns:a16="http://schemas.microsoft.com/office/drawing/2014/main" id="{53E0B294-4DA9-475D-8B5B-323958B18770}"/>
                </a:ext>
              </a:extLst>
            </p:cNvPr>
            <p:cNvSpPr>
              <a:spLocks noChangeAspect="1"/>
            </p:cNvSpPr>
            <p:nvPr/>
          </p:nvSpPr>
          <p:spPr bwMode="auto">
            <a:xfrm>
              <a:off x="9273302" y="2046197"/>
              <a:ext cx="1426282" cy="1426282"/>
            </a:xfrm>
            <a:prstGeom prst="ellipse">
              <a:avLst/>
            </a:prstGeom>
            <a:noFill/>
            <a:ln w="22225" cap="flat" cmpd="sng" algn="ctr">
              <a:solidFill>
                <a:srgbClr val="0478D4"/>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69193" fontAlgn="base">
                <a:spcBef>
                  <a:spcPct val="0"/>
                </a:spcBef>
                <a:spcAft>
                  <a:spcPct val="0"/>
                </a:spcAft>
                <a:defRPr/>
              </a:pPr>
              <a:endParaRPr lang="en-US" sz="2399" kern="0">
                <a:solidFill>
                  <a:srgbClr val="505050"/>
                </a:solidFill>
                <a:latin typeface="Segoe UI" panose="020B0502040204020203" pitchFamily="34" charset="0"/>
                <a:cs typeface="Segoe UI" panose="020B0502040204020203" pitchFamily="34" charset="0"/>
                <a:sym typeface="Segoe UI Semibold"/>
              </a:endParaRPr>
            </a:p>
          </p:txBody>
        </p:sp>
        <p:sp>
          <p:nvSpPr>
            <p:cNvPr id="173" name="Freeform: Shape 172">
              <a:extLst>
                <a:ext uri="{FF2B5EF4-FFF2-40B4-BE49-F238E27FC236}">
                  <a16:creationId xmlns:a16="http://schemas.microsoft.com/office/drawing/2014/main" id="{6372C9D9-1D8D-4E8A-90FD-D8A5E60C305F}"/>
                </a:ext>
              </a:extLst>
            </p:cNvPr>
            <p:cNvSpPr>
              <a:spLocks noChangeAspect="1"/>
            </p:cNvSpPr>
            <p:nvPr/>
          </p:nvSpPr>
          <p:spPr bwMode="black">
            <a:xfrm>
              <a:off x="9745867" y="2316705"/>
              <a:ext cx="527667" cy="885265"/>
            </a:xfrm>
            <a:custGeom>
              <a:avLst/>
              <a:gdLst>
                <a:gd name="connsiteX0" fmla="*/ 285484 w 1193354"/>
                <a:gd name="connsiteY0" fmla="*/ 451468 h 2002084"/>
                <a:gd name="connsiteX1" fmla="*/ 284883 w 1193354"/>
                <a:gd name="connsiteY1" fmla="*/ 491345 h 2002084"/>
                <a:gd name="connsiteX2" fmla="*/ 284785 w 1193354"/>
                <a:gd name="connsiteY2" fmla="*/ 491279 h 2002084"/>
                <a:gd name="connsiteX3" fmla="*/ 284979 w 1193354"/>
                <a:gd name="connsiteY3" fmla="*/ 475228 h 2002084"/>
                <a:gd name="connsiteX4" fmla="*/ 286242 w 1193354"/>
                <a:gd name="connsiteY4" fmla="*/ 415853 h 2002084"/>
                <a:gd name="connsiteX5" fmla="*/ 286102 w 1193354"/>
                <a:gd name="connsiteY5" fmla="*/ 422418 h 2002084"/>
                <a:gd name="connsiteX6" fmla="*/ 285843 w 1193354"/>
                <a:gd name="connsiteY6" fmla="*/ 430162 h 2002084"/>
                <a:gd name="connsiteX7" fmla="*/ 285612 w 1193354"/>
                <a:gd name="connsiteY7" fmla="*/ 445461 h 2002084"/>
                <a:gd name="connsiteX8" fmla="*/ 285484 w 1193354"/>
                <a:gd name="connsiteY8" fmla="*/ 451468 h 2002084"/>
                <a:gd name="connsiteX9" fmla="*/ 285841 w 1193354"/>
                <a:gd name="connsiteY9" fmla="*/ 427810 h 2002084"/>
                <a:gd name="connsiteX10" fmla="*/ 286701 w 1193354"/>
                <a:gd name="connsiteY10" fmla="*/ 402165 h 2002084"/>
                <a:gd name="connsiteX11" fmla="*/ 286242 w 1193354"/>
                <a:gd name="connsiteY11" fmla="*/ 415853 h 2002084"/>
                <a:gd name="connsiteX12" fmla="*/ 286436 w 1193354"/>
                <a:gd name="connsiteY12" fmla="*/ 406761 h 2002084"/>
                <a:gd name="connsiteX13" fmla="*/ 496328 w 1193354"/>
                <a:gd name="connsiteY13" fmla="*/ 360361 h 2002084"/>
                <a:gd name="connsiteX14" fmla="*/ 496354 w 1193354"/>
                <a:gd name="connsiteY14" fmla="*/ 360534 h 2002084"/>
                <a:gd name="connsiteX15" fmla="*/ 494883 w 1193354"/>
                <a:gd name="connsiteY15" fmla="*/ 463364 h 2002084"/>
                <a:gd name="connsiteX16" fmla="*/ 494300 w 1193354"/>
                <a:gd name="connsiteY16" fmla="*/ 506394 h 2002084"/>
                <a:gd name="connsiteX17" fmla="*/ 494267 w 1193354"/>
                <a:gd name="connsiteY17" fmla="*/ 506416 h 2002084"/>
                <a:gd name="connsiteX18" fmla="*/ 494882 w 1193354"/>
                <a:gd name="connsiteY18" fmla="*/ 461012 h 2002084"/>
                <a:gd name="connsiteX19" fmla="*/ 495899 w 1193354"/>
                <a:gd name="connsiteY19" fmla="*/ 397961 h 2002084"/>
                <a:gd name="connsiteX20" fmla="*/ 289252 w 1193354"/>
                <a:gd name="connsiteY20" fmla="*/ 358061 h 2002084"/>
                <a:gd name="connsiteX21" fmla="*/ 289249 w 1193354"/>
                <a:gd name="connsiteY21" fmla="*/ 358087 h 2002084"/>
                <a:gd name="connsiteX22" fmla="*/ 288429 w 1193354"/>
                <a:gd name="connsiteY22" fmla="*/ 372279 h 2002084"/>
                <a:gd name="connsiteX23" fmla="*/ 287181 w 1193354"/>
                <a:gd name="connsiteY23" fmla="*/ 390263 h 2002084"/>
                <a:gd name="connsiteX24" fmla="*/ 286893 w 1193354"/>
                <a:gd name="connsiteY24" fmla="*/ 398838 h 2002084"/>
                <a:gd name="connsiteX25" fmla="*/ 286701 w 1193354"/>
                <a:gd name="connsiteY25" fmla="*/ 402165 h 2002084"/>
                <a:gd name="connsiteX26" fmla="*/ 287179 w 1193354"/>
                <a:gd name="connsiteY26" fmla="*/ 387912 h 2002084"/>
                <a:gd name="connsiteX27" fmla="*/ 289248 w 1193354"/>
                <a:gd name="connsiteY27" fmla="*/ 358087 h 2002084"/>
                <a:gd name="connsiteX28" fmla="*/ 296920 w 1193354"/>
                <a:gd name="connsiteY28" fmla="*/ 310739 h 2002084"/>
                <a:gd name="connsiteX29" fmla="*/ 289252 w 1193354"/>
                <a:gd name="connsiteY29" fmla="*/ 358061 h 2002084"/>
                <a:gd name="connsiteX30" fmla="*/ 294307 w 1193354"/>
                <a:gd name="connsiteY30" fmla="*/ 317179 h 2002084"/>
                <a:gd name="connsiteX31" fmla="*/ 301470 w 1193354"/>
                <a:gd name="connsiteY31" fmla="*/ 299529 h 2002084"/>
                <a:gd name="connsiteX32" fmla="*/ 298558 w 1193354"/>
                <a:gd name="connsiteY32" fmla="*/ 306704 h 2002084"/>
                <a:gd name="connsiteX33" fmla="*/ 297737 w 1193354"/>
                <a:gd name="connsiteY33" fmla="*/ 308062 h 2002084"/>
                <a:gd name="connsiteX34" fmla="*/ 297558 w 1193354"/>
                <a:gd name="connsiteY34" fmla="*/ 309167 h 2002084"/>
                <a:gd name="connsiteX35" fmla="*/ 296920 w 1193354"/>
                <a:gd name="connsiteY35" fmla="*/ 310739 h 2002084"/>
                <a:gd name="connsiteX36" fmla="*/ 297735 w 1193354"/>
                <a:gd name="connsiteY36" fmla="*/ 305710 h 2002084"/>
                <a:gd name="connsiteX37" fmla="*/ 483118 w 1193354"/>
                <a:gd name="connsiteY37" fmla="*/ 298753 h 2002084"/>
                <a:gd name="connsiteX38" fmla="*/ 489189 w 1193354"/>
                <a:gd name="connsiteY38" fmla="*/ 310293 h 2002084"/>
                <a:gd name="connsiteX39" fmla="*/ 496353 w 1193354"/>
                <a:gd name="connsiteY39" fmla="*/ 358182 h 2002084"/>
                <a:gd name="connsiteX40" fmla="*/ 496328 w 1193354"/>
                <a:gd name="connsiteY40" fmla="*/ 360361 h 2002084"/>
                <a:gd name="connsiteX41" fmla="*/ 496327 w 1193354"/>
                <a:gd name="connsiteY41" fmla="*/ 360355 h 2002084"/>
                <a:gd name="connsiteX42" fmla="*/ 496352 w 1193354"/>
                <a:gd name="connsiteY42" fmla="*/ 358182 h 2002084"/>
                <a:gd name="connsiteX43" fmla="*/ 495286 w 1193354"/>
                <a:gd name="connsiteY43" fmla="*/ 353397 h 2002084"/>
                <a:gd name="connsiteX44" fmla="*/ 489190 w 1193354"/>
                <a:gd name="connsiteY44" fmla="*/ 312645 h 2002084"/>
                <a:gd name="connsiteX45" fmla="*/ 484026 w 1193354"/>
                <a:gd name="connsiteY45" fmla="*/ 302828 h 2002084"/>
                <a:gd name="connsiteX46" fmla="*/ 312270 w 1193354"/>
                <a:gd name="connsiteY46" fmla="*/ 281652 h 2002084"/>
                <a:gd name="connsiteX47" fmla="*/ 301470 w 1193354"/>
                <a:gd name="connsiteY47" fmla="*/ 299529 h 2002084"/>
                <a:gd name="connsiteX48" fmla="*/ 307000 w 1193354"/>
                <a:gd name="connsiteY48" fmla="*/ 285901 h 2002084"/>
                <a:gd name="connsiteX49" fmla="*/ 473685 w 1193354"/>
                <a:gd name="connsiteY49" fmla="*/ 280824 h 2002084"/>
                <a:gd name="connsiteX50" fmla="*/ 481372 w 1193354"/>
                <a:gd name="connsiteY50" fmla="*/ 290914 h 2002084"/>
                <a:gd name="connsiteX51" fmla="*/ 483118 w 1193354"/>
                <a:gd name="connsiteY51" fmla="*/ 298753 h 2002084"/>
                <a:gd name="connsiteX52" fmla="*/ 467383 w 1193354"/>
                <a:gd name="connsiteY52" fmla="*/ 272552 h 2002084"/>
                <a:gd name="connsiteX53" fmla="*/ 470477 w 1193354"/>
                <a:gd name="connsiteY53" fmla="*/ 274726 h 2002084"/>
                <a:gd name="connsiteX54" fmla="*/ 473685 w 1193354"/>
                <a:gd name="connsiteY54" fmla="*/ 280824 h 2002084"/>
                <a:gd name="connsiteX55" fmla="*/ 438680 w 1193354"/>
                <a:gd name="connsiteY55" fmla="*/ 252385 h 2002084"/>
                <a:gd name="connsiteX56" fmla="*/ 463812 w 1193354"/>
                <a:gd name="connsiteY56" fmla="*/ 267865 h 2002084"/>
                <a:gd name="connsiteX57" fmla="*/ 467383 w 1193354"/>
                <a:gd name="connsiteY57" fmla="*/ 272552 h 2002084"/>
                <a:gd name="connsiteX58" fmla="*/ 392214 w 1193354"/>
                <a:gd name="connsiteY58" fmla="*/ 246486 h 2002084"/>
                <a:gd name="connsiteX59" fmla="*/ 470478 w 1193354"/>
                <a:gd name="connsiteY59" fmla="*/ 277078 h 2002084"/>
                <a:gd name="connsiteX60" fmla="*/ 484026 w 1193354"/>
                <a:gd name="connsiteY60" fmla="*/ 302828 h 2002084"/>
                <a:gd name="connsiteX61" fmla="*/ 495286 w 1193354"/>
                <a:gd name="connsiteY61" fmla="*/ 353397 h 2002084"/>
                <a:gd name="connsiteX62" fmla="*/ 496327 w 1193354"/>
                <a:gd name="connsiteY62" fmla="*/ 360355 h 2002084"/>
                <a:gd name="connsiteX63" fmla="*/ 495898 w 1193354"/>
                <a:gd name="connsiteY63" fmla="*/ 397961 h 2002084"/>
                <a:gd name="connsiteX64" fmla="*/ 494881 w 1193354"/>
                <a:gd name="connsiteY64" fmla="*/ 461012 h 2002084"/>
                <a:gd name="connsiteX65" fmla="*/ 494266 w 1193354"/>
                <a:gd name="connsiteY65" fmla="*/ 506417 h 2002084"/>
                <a:gd name="connsiteX66" fmla="*/ 494267 w 1193354"/>
                <a:gd name="connsiteY66" fmla="*/ 506416 h 2002084"/>
                <a:gd name="connsiteX67" fmla="*/ 493818 w 1193354"/>
                <a:gd name="connsiteY67" fmla="*/ 539623 h 2002084"/>
                <a:gd name="connsiteX68" fmla="*/ 493224 w 1193354"/>
                <a:gd name="connsiteY68" fmla="*/ 626081 h 2002084"/>
                <a:gd name="connsiteX69" fmla="*/ 493231 w 1193354"/>
                <a:gd name="connsiteY69" fmla="*/ 627553 h 2002084"/>
                <a:gd name="connsiteX70" fmla="*/ 493225 w 1193354"/>
                <a:gd name="connsiteY70" fmla="*/ 628433 h 2002084"/>
                <a:gd name="connsiteX71" fmla="*/ 505879 w 1193354"/>
                <a:gd name="connsiteY71" fmla="*/ 898482 h 2002084"/>
                <a:gd name="connsiteX72" fmla="*/ 622620 w 1193354"/>
                <a:gd name="connsiteY72" fmla="*/ 786882 h 2002084"/>
                <a:gd name="connsiteX73" fmla="*/ 739361 w 1193354"/>
                <a:gd name="connsiteY73" fmla="*/ 898482 h 2002084"/>
                <a:gd name="connsiteX74" fmla="*/ 739361 w 1193354"/>
                <a:gd name="connsiteY74" fmla="*/ 954282 h 2002084"/>
                <a:gd name="connsiteX75" fmla="*/ 849616 w 1193354"/>
                <a:gd name="connsiteY75" fmla="*/ 842682 h 2002084"/>
                <a:gd name="connsiteX76" fmla="*/ 966358 w 1193354"/>
                <a:gd name="connsiteY76" fmla="*/ 954282 h 2002084"/>
                <a:gd name="connsiteX77" fmla="*/ 966358 w 1193354"/>
                <a:gd name="connsiteY77" fmla="*/ 1010082 h 2002084"/>
                <a:gd name="connsiteX78" fmla="*/ 1083099 w 1193354"/>
                <a:gd name="connsiteY78" fmla="*/ 898482 h 2002084"/>
                <a:gd name="connsiteX79" fmla="*/ 1193354 w 1193354"/>
                <a:gd name="connsiteY79" fmla="*/ 1010082 h 2002084"/>
                <a:gd name="connsiteX80" fmla="*/ 1193354 w 1193354"/>
                <a:gd name="connsiteY80" fmla="*/ 1245682 h 2002084"/>
                <a:gd name="connsiteX81" fmla="*/ 1193354 w 1193354"/>
                <a:gd name="connsiteY81" fmla="*/ 1431683 h 2002084"/>
                <a:gd name="connsiteX82" fmla="*/ 1193354 w 1193354"/>
                <a:gd name="connsiteY82" fmla="*/ 1493683 h 2002084"/>
                <a:gd name="connsiteX83" fmla="*/ 596677 w 1193354"/>
                <a:gd name="connsiteY83" fmla="*/ 2002084 h 2002084"/>
                <a:gd name="connsiteX84" fmla="*/ 0 w 1193354"/>
                <a:gd name="connsiteY84" fmla="*/ 1431683 h 2002084"/>
                <a:gd name="connsiteX85" fmla="*/ 0 w 1193354"/>
                <a:gd name="connsiteY85" fmla="*/ 1109282 h 2002084"/>
                <a:gd name="connsiteX86" fmla="*/ 0 w 1193354"/>
                <a:gd name="connsiteY86" fmla="*/ 997682 h 2002084"/>
                <a:gd name="connsiteX87" fmla="*/ 116742 w 1193354"/>
                <a:gd name="connsiteY87" fmla="*/ 997682 h 2002084"/>
                <a:gd name="connsiteX88" fmla="*/ 226997 w 1193354"/>
                <a:gd name="connsiteY88" fmla="*/ 1109282 h 2002084"/>
                <a:gd name="connsiteX89" fmla="*/ 226997 w 1193354"/>
                <a:gd name="connsiteY89" fmla="*/ 1375883 h 2002084"/>
                <a:gd name="connsiteX90" fmla="*/ 278882 w 1193354"/>
                <a:gd name="connsiteY90" fmla="*/ 1320083 h 2002084"/>
                <a:gd name="connsiteX91" fmla="*/ 278882 w 1193354"/>
                <a:gd name="connsiteY91" fmla="*/ 1010082 h 2002084"/>
                <a:gd name="connsiteX92" fmla="*/ 278882 w 1193354"/>
                <a:gd name="connsiteY92" fmla="*/ 738056 h 2002084"/>
                <a:gd name="connsiteX93" fmla="*/ 282697 w 1193354"/>
                <a:gd name="connsiteY93" fmla="*/ 639405 h 2002084"/>
                <a:gd name="connsiteX94" fmla="*/ 283227 w 1193354"/>
                <a:gd name="connsiteY94" fmla="*/ 604037 h 2002084"/>
                <a:gd name="connsiteX95" fmla="*/ 284019 w 1193354"/>
                <a:gd name="connsiteY95" fmla="*/ 554865 h 2002084"/>
                <a:gd name="connsiteX96" fmla="*/ 284242 w 1193354"/>
                <a:gd name="connsiteY96" fmla="*/ 536372 h 2002084"/>
                <a:gd name="connsiteX97" fmla="*/ 284338 w 1193354"/>
                <a:gd name="connsiteY97" fmla="*/ 529962 h 2002084"/>
                <a:gd name="connsiteX98" fmla="*/ 285612 w 1193354"/>
                <a:gd name="connsiteY98" fmla="*/ 445461 h 2002084"/>
                <a:gd name="connsiteX99" fmla="*/ 286102 w 1193354"/>
                <a:gd name="connsiteY99" fmla="*/ 422418 h 2002084"/>
                <a:gd name="connsiteX100" fmla="*/ 286893 w 1193354"/>
                <a:gd name="connsiteY100" fmla="*/ 398838 h 2002084"/>
                <a:gd name="connsiteX101" fmla="*/ 288429 w 1193354"/>
                <a:gd name="connsiteY101" fmla="*/ 372279 h 2002084"/>
                <a:gd name="connsiteX102" fmla="*/ 289250 w 1193354"/>
                <a:gd name="connsiteY102" fmla="*/ 360439 h 2002084"/>
                <a:gd name="connsiteX103" fmla="*/ 297558 w 1193354"/>
                <a:gd name="connsiteY103" fmla="*/ 309167 h 2002084"/>
                <a:gd name="connsiteX104" fmla="*/ 298558 w 1193354"/>
                <a:gd name="connsiteY104" fmla="*/ 306704 h 2002084"/>
                <a:gd name="connsiteX105" fmla="*/ 315044 w 1193354"/>
                <a:gd name="connsiteY105" fmla="*/ 279415 h 2002084"/>
                <a:gd name="connsiteX106" fmla="*/ 338643 w 1193354"/>
                <a:gd name="connsiteY106" fmla="*/ 260387 h 2002084"/>
                <a:gd name="connsiteX107" fmla="*/ 351480 w 1193354"/>
                <a:gd name="connsiteY107" fmla="*/ 252389 h 2002084"/>
                <a:gd name="connsiteX108" fmla="*/ 392214 w 1193354"/>
                <a:gd name="connsiteY108" fmla="*/ 246486 h 2002084"/>
                <a:gd name="connsiteX109" fmla="*/ 392212 w 1193354"/>
                <a:gd name="connsiteY109" fmla="*/ 244134 h 2002084"/>
                <a:gd name="connsiteX110" fmla="*/ 351479 w 1193354"/>
                <a:gd name="connsiteY110" fmla="*/ 250037 h 2002084"/>
                <a:gd name="connsiteX111" fmla="*/ 338643 w 1193354"/>
                <a:gd name="connsiteY111" fmla="*/ 260387 h 2002084"/>
                <a:gd name="connsiteX112" fmla="*/ 319234 w 1193354"/>
                <a:gd name="connsiteY112" fmla="*/ 272480 h 2002084"/>
                <a:gd name="connsiteX113" fmla="*/ 315044 w 1193354"/>
                <a:gd name="connsiteY113" fmla="*/ 279415 h 2002084"/>
                <a:gd name="connsiteX114" fmla="*/ 312270 w 1193354"/>
                <a:gd name="connsiteY114" fmla="*/ 281652 h 2002084"/>
                <a:gd name="connsiteX115" fmla="*/ 319232 w 1193354"/>
                <a:gd name="connsiteY115" fmla="*/ 270128 h 2002084"/>
                <a:gd name="connsiteX116" fmla="*/ 392212 w 1193354"/>
                <a:gd name="connsiteY116" fmla="*/ 244134 h 2002084"/>
                <a:gd name="connsiteX117" fmla="*/ 392212 w 1193354"/>
                <a:gd name="connsiteY117" fmla="*/ 244134 h 2002084"/>
                <a:gd name="connsiteX118" fmla="*/ 392213 w 1193354"/>
                <a:gd name="connsiteY118" fmla="*/ 244134 h 2002084"/>
                <a:gd name="connsiteX119" fmla="*/ 438667 w 1193354"/>
                <a:gd name="connsiteY119" fmla="*/ 252376 h 2002084"/>
                <a:gd name="connsiteX120" fmla="*/ 438680 w 1193354"/>
                <a:gd name="connsiteY120" fmla="*/ 252385 h 2002084"/>
                <a:gd name="connsiteX121" fmla="*/ 438666 w 1193354"/>
                <a:gd name="connsiteY121" fmla="*/ 252376 h 2002084"/>
                <a:gd name="connsiteX122" fmla="*/ 400753 w 1193354"/>
                <a:gd name="connsiteY122" fmla="*/ 0 h 2002084"/>
                <a:gd name="connsiteX123" fmla="*/ 730683 w 1193354"/>
                <a:gd name="connsiteY123" fmla="*/ 329930 h 2002084"/>
                <a:gd name="connsiteX124" fmla="*/ 529177 w 1193354"/>
                <a:gd name="connsiteY124" fmla="*/ 633933 h 2002084"/>
                <a:gd name="connsiteX125" fmla="*/ 493310 w 1193354"/>
                <a:gd name="connsiteY125" fmla="*/ 645066 h 2002084"/>
                <a:gd name="connsiteX126" fmla="*/ 493231 w 1193354"/>
                <a:gd name="connsiteY126" fmla="*/ 627553 h 2002084"/>
                <a:gd name="connsiteX127" fmla="*/ 493819 w 1193354"/>
                <a:gd name="connsiteY127" fmla="*/ 541975 h 2002084"/>
                <a:gd name="connsiteX128" fmla="*/ 494300 w 1193354"/>
                <a:gd name="connsiteY128" fmla="*/ 506394 h 2002084"/>
                <a:gd name="connsiteX129" fmla="*/ 543825 w 1193354"/>
                <a:gd name="connsiteY129" fmla="*/ 473003 h 2002084"/>
                <a:gd name="connsiteX130" fmla="*/ 603088 w 1193354"/>
                <a:gd name="connsiteY130" fmla="*/ 329930 h 2002084"/>
                <a:gd name="connsiteX131" fmla="*/ 400752 w 1193354"/>
                <a:gd name="connsiteY131" fmla="*/ 127594 h 2002084"/>
                <a:gd name="connsiteX132" fmla="*/ 198416 w 1193354"/>
                <a:gd name="connsiteY132" fmla="*/ 329930 h 2002084"/>
                <a:gd name="connsiteX133" fmla="*/ 257679 w 1193354"/>
                <a:gd name="connsiteY133" fmla="*/ 473003 h 2002084"/>
                <a:gd name="connsiteX134" fmla="*/ 284785 w 1193354"/>
                <a:gd name="connsiteY134" fmla="*/ 491279 h 2002084"/>
                <a:gd name="connsiteX135" fmla="*/ 284242 w 1193354"/>
                <a:gd name="connsiteY135" fmla="*/ 536372 h 2002084"/>
                <a:gd name="connsiteX136" fmla="*/ 283227 w 1193354"/>
                <a:gd name="connsiteY136" fmla="*/ 604037 h 2002084"/>
                <a:gd name="connsiteX137" fmla="*/ 282696 w 1193354"/>
                <a:gd name="connsiteY137" fmla="*/ 637053 h 2002084"/>
                <a:gd name="connsiteX138" fmla="*/ 282693 w 1193354"/>
                <a:gd name="connsiteY138" fmla="*/ 637150 h 2002084"/>
                <a:gd name="connsiteX139" fmla="*/ 272330 w 1193354"/>
                <a:gd name="connsiteY139" fmla="*/ 633933 h 2002084"/>
                <a:gd name="connsiteX140" fmla="*/ 70823 w 1193354"/>
                <a:gd name="connsiteY140" fmla="*/ 329930 h 2002084"/>
                <a:gd name="connsiteX141" fmla="*/ 400753 w 1193354"/>
                <a:gd name="connsiteY141" fmla="*/ 0 h 200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93354" h="2002084">
                  <a:moveTo>
                    <a:pt x="285484" y="451468"/>
                  </a:moveTo>
                  <a:lnTo>
                    <a:pt x="284883" y="491345"/>
                  </a:lnTo>
                  <a:lnTo>
                    <a:pt x="284785" y="491279"/>
                  </a:lnTo>
                  <a:lnTo>
                    <a:pt x="284979" y="475228"/>
                  </a:lnTo>
                  <a:close/>
                  <a:moveTo>
                    <a:pt x="286242" y="415853"/>
                  </a:moveTo>
                  <a:lnTo>
                    <a:pt x="286102" y="422418"/>
                  </a:lnTo>
                  <a:lnTo>
                    <a:pt x="285843" y="430162"/>
                  </a:lnTo>
                  <a:lnTo>
                    <a:pt x="285612" y="445461"/>
                  </a:lnTo>
                  <a:lnTo>
                    <a:pt x="285484" y="451468"/>
                  </a:lnTo>
                  <a:lnTo>
                    <a:pt x="285841" y="427810"/>
                  </a:lnTo>
                  <a:close/>
                  <a:moveTo>
                    <a:pt x="286701" y="402165"/>
                  </a:moveTo>
                  <a:lnTo>
                    <a:pt x="286242" y="415853"/>
                  </a:lnTo>
                  <a:lnTo>
                    <a:pt x="286436" y="406761"/>
                  </a:lnTo>
                  <a:close/>
                  <a:moveTo>
                    <a:pt x="496328" y="360361"/>
                  </a:moveTo>
                  <a:lnTo>
                    <a:pt x="496354" y="360534"/>
                  </a:lnTo>
                  <a:cubicBezTo>
                    <a:pt x="496354" y="377582"/>
                    <a:pt x="495634" y="415286"/>
                    <a:pt x="494883" y="463364"/>
                  </a:cubicBezTo>
                  <a:lnTo>
                    <a:pt x="494300" y="506394"/>
                  </a:lnTo>
                  <a:lnTo>
                    <a:pt x="494267" y="506416"/>
                  </a:lnTo>
                  <a:lnTo>
                    <a:pt x="494882" y="461012"/>
                  </a:lnTo>
                  <a:cubicBezTo>
                    <a:pt x="495258" y="436974"/>
                    <a:pt x="495625" y="415528"/>
                    <a:pt x="495899" y="397961"/>
                  </a:cubicBezTo>
                  <a:close/>
                  <a:moveTo>
                    <a:pt x="289252" y="358061"/>
                  </a:moveTo>
                  <a:lnTo>
                    <a:pt x="289249" y="358087"/>
                  </a:lnTo>
                  <a:lnTo>
                    <a:pt x="288429" y="372279"/>
                  </a:lnTo>
                  <a:lnTo>
                    <a:pt x="287181" y="390263"/>
                  </a:lnTo>
                  <a:lnTo>
                    <a:pt x="286893" y="398838"/>
                  </a:lnTo>
                  <a:lnTo>
                    <a:pt x="286701" y="402165"/>
                  </a:lnTo>
                  <a:lnTo>
                    <a:pt x="287179" y="387912"/>
                  </a:lnTo>
                  <a:cubicBezTo>
                    <a:pt x="287733" y="376149"/>
                    <a:pt x="288409" y="366066"/>
                    <a:pt x="289248" y="358087"/>
                  </a:cubicBezTo>
                  <a:close/>
                  <a:moveTo>
                    <a:pt x="296920" y="310739"/>
                  </a:moveTo>
                  <a:lnTo>
                    <a:pt x="289252" y="358061"/>
                  </a:lnTo>
                  <a:lnTo>
                    <a:pt x="294307" y="317179"/>
                  </a:lnTo>
                  <a:close/>
                  <a:moveTo>
                    <a:pt x="301470" y="299529"/>
                  </a:moveTo>
                  <a:lnTo>
                    <a:pt x="298558" y="306704"/>
                  </a:lnTo>
                  <a:lnTo>
                    <a:pt x="297737" y="308062"/>
                  </a:lnTo>
                  <a:lnTo>
                    <a:pt x="297558" y="309167"/>
                  </a:lnTo>
                  <a:lnTo>
                    <a:pt x="296920" y="310739"/>
                  </a:lnTo>
                  <a:lnTo>
                    <a:pt x="297735" y="305710"/>
                  </a:lnTo>
                  <a:close/>
                  <a:moveTo>
                    <a:pt x="483118" y="298753"/>
                  </a:moveTo>
                  <a:lnTo>
                    <a:pt x="489189" y="310293"/>
                  </a:lnTo>
                  <a:cubicBezTo>
                    <a:pt x="493416" y="324252"/>
                    <a:pt x="495718" y="340264"/>
                    <a:pt x="496353" y="358182"/>
                  </a:cubicBezTo>
                  <a:lnTo>
                    <a:pt x="496328" y="360361"/>
                  </a:lnTo>
                  <a:lnTo>
                    <a:pt x="496327" y="360355"/>
                  </a:lnTo>
                  <a:lnTo>
                    <a:pt x="496352" y="358182"/>
                  </a:lnTo>
                  <a:lnTo>
                    <a:pt x="495286" y="353397"/>
                  </a:lnTo>
                  <a:lnTo>
                    <a:pt x="489190" y="312645"/>
                  </a:lnTo>
                  <a:lnTo>
                    <a:pt x="484026" y="302828"/>
                  </a:lnTo>
                  <a:close/>
                  <a:moveTo>
                    <a:pt x="312270" y="281652"/>
                  </a:moveTo>
                  <a:lnTo>
                    <a:pt x="301470" y="299529"/>
                  </a:lnTo>
                  <a:lnTo>
                    <a:pt x="307000" y="285901"/>
                  </a:lnTo>
                  <a:close/>
                  <a:moveTo>
                    <a:pt x="473685" y="280824"/>
                  </a:moveTo>
                  <a:lnTo>
                    <a:pt x="481372" y="290914"/>
                  </a:lnTo>
                  <a:lnTo>
                    <a:pt x="483118" y="298753"/>
                  </a:lnTo>
                  <a:close/>
                  <a:moveTo>
                    <a:pt x="467383" y="272552"/>
                  </a:moveTo>
                  <a:lnTo>
                    <a:pt x="470477" y="274726"/>
                  </a:lnTo>
                  <a:lnTo>
                    <a:pt x="473685" y="280824"/>
                  </a:lnTo>
                  <a:close/>
                  <a:moveTo>
                    <a:pt x="438680" y="252385"/>
                  </a:moveTo>
                  <a:lnTo>
                    <a:pt x="463812" y="267865"/>
                  </a:lnTo>
                  <a:lnTo>
                    <a:pt x="467383" y="272552"/>
                  </a:lnTo>
                  <a:close/>
                  <a:moveTo>
                    <a:pt x="392214" y="246486"/>
                  </a:moveTo>
                  <a:cubicBezTo>
                    <a:pt x="428409" y="247079"/>
                    <a:pt x="453809" y="257674"/>
                    <a:pt x="470478" y="277078"/>
                  </a:cubicBezTo>
                  <a:lnTo>
                    <a:pt x="484026" y="302828"/>
                  </a:lnTo>
                  <a:lnTo>
                    <a:pt x="495286" y="353397"/>
                  </a:lnTo>
                  <a:lnTo>
                    <a:pt x="496327" y="360355"/>
                  </a:lnTo>
                  <a:lnTo>
                    <a:pt x="495898" y="397961"/>
                  </a:lnTo>
                  <a:cubicBezTo>
                    <a:pt x="495624" y="415528"/>
                    <a:pt x="495257" y="436973"/>
                    <a:pt x="494881" y="461012"/>
                  </a:cubicBezTo>
                  <a:lnTo>
                    <a:pt x="494266" y="506417"/>
                  </a:lnTo>
                  <a:lnTo>
                    <a:pt x="494267" y="506416"/>
                  </a:lnTo>
                  <a:lnTo>
                    <a:pt x="493818" y="539623"/>
                  </a:lnTo>
                  <a:cubicBezTo>
                    <a:pt x="493513" y="567563"/>
                    <a:pt x="493286" y="596811"/>
                    <a:pt x="493224" y="626081"/>
                  </a:cubicBezTo>
                  <a:lnTo>
                    <a:pt x="493231" y="627553"/>
                  </a:lnTo>
                  <a:lnTo>
                    <a:pt x="493225" y="628433"/>
                  </a:lnTo>
                  <a:cubicBezTo>
                    <a:pt x="492975" y="745514"/>
                    <a:pt x="495357" y="862953"/>
                    <a:pt x="505879" y="898482"/>
                  </a:cubicBezTo>
                  <a:cubicBezTo>
                    <a:pt x="526923" y="969540"/>
                    <a:pt x="557764" y="786882"/>
                    <a:pt x="622620" y="786882"/>
                  </a:cubicBezTo>
                  <a:cubicBezTo>
                    <a:pt x="687476" y="786882"/>
                    <a:pt x="739361" y="836482"/>
                    <a:pt x="739361" y="898482"/>
                  </a:cubicBezTo>
                  <a:lnTo>
                    <a:pt x="739361" y="954282"/>
                  </a:lnTo>
                  <a:cubicBezTo>
                    <a:pt x="739361" y="892282"/>
                    <a:pt x="791246" y="842682"/>
                    <a:pt x="849616" y="842682"/>
                  </a:cubicBezTo>
                  <a:cubicBezTo>
                    <a:pt x="914473" y="842682"/>
                    <a:pt x="966358" y="892282"/>
                    <a:pt x="966358" y="954282"/>
                  </a:cubicBezTo>
                  <a:lnTo>
                    <a:pt x="966358" y="1010082"/>
                  </a:lnTo>
                  <a:cubicBezTo>
                    <a:pt x="966358" y="948082"/>
                    <a:pt x="1018243" y="898482"/>
                    <a:pt x="1083099" y="898482"/>
                  </a:cubicBezTo>
                  <a:cubicBezTo>
                    <a:pt x="1147955" y="898482"/>
                    <a:pt x="1193354" y="948082"/>
                    <a:pt x="1193354" y="1010082"/>
                  </a:cubicBezTo>
                  <a:lnTo>
                    <a:pt x="1193354" y="1245682"/>
                  </a:lnTo>
                  <a:lnTo>
                    <a:pt x="1193354" y="1431683"/>
                  </a:lnTo>
                  <a:lnTo>
                    <a:pt x="1193354" y="1493683"/>
                  </a:lnTo>
                  <a:cubicBezTo>
                    <a:pt x="1160926" y="1778884"/>
                    <a:pt x="907987" y="2002084"/>
                    <a:pt x="596677" y="2002084"/>
                  </a:cubicBezTo>
                  <a:cubicBezTo>
                    <a:pt x="265911" y="2002084"/>
                    <a:pt x="0" y="1747884"/>
                    <a:pt x="0" y="1431683"/>
                  </a:cubicBezTo>
                  <a:lnTo>
                    <a:pt x="0" y="1109282"/>
                  </a:lnTo>
                  <a:lnTo>
                    <a:pt x="0" y="997682"/>
                  </a:lnTo>
                  <a:lnTo>
                    <a:pt x="116742" y="997682"/>
                  </a:lnTo>
                  <a:cubicBezTo>
                    <a:pt x="181598" y="997682"/>
                    <a:pt x="226997" y="1047282"/>
                    <a:pt x="226997" y="1109282"/>
                  </a:cubicBezTo>
                  <a:lnTo>
                    <a:pt x="226997" y="1375883"/>
                  </a:lnTo>
                  <a:cubicBezTo>
                    <a:pt x="265911" y="1375883"/>
                    <a:pt x="278882" y="1344883"/>
                    <a:pt x="278882" y="1320083"/>
                  </a:cubicBezTo>
                  <a:lnTo>
                    <a:pt x="278882" y="1010082"/>
                  </a:lnTo>
                  <a:lnTo>
                    <a:pt x="278882" y="738056"/>
                  </a:lnTo>
                  <a:cubicBezTo>
                    <a:pt x="280743" y="709242"/>
                    <a:pt x="281901" y="675222"/>
                    <a:pt x="282697" y="639405"/>
                  </a:cubicBezTo>
                  <a:lnTo>
                    <a:pt x="283227" y="604037"/>
                  </a:lnTo>
                  <a:lnTo>
                    <a:pt x="284019" y="554865"/>
                  </a:lnTo>
                  <a:lnTo>
                    <a:pt x="284242" y="536372"/>
                  </a:lnTo>
                  <a:lnTo>
                    <a:pt x="284338" y="529962"/>
                  </a:lnTo>
                  <a:lnTo>
                    <a:pt x="285612" y="445461"/>
                  </a:lnTo>
                  <a:lnTo>
                    <a:pt x="286102" y="422418"/>
                  </a:lnTo>
                  <a:lnTo>
                    <a:pt x="286893" y="398838"/>
                  </a:lnTo>
                  <a:lnTo>
                    <a:pt x="288429" y="372279"/>
                  </a:lnTo>
                  <a:lnTo>
                    <a:pt x="289250" y="360439"/>
                  </a:lnTo>
                  <a:lnTo>
                    <a:pt x="297558" y="309167"/>
                  </a:lnTo>
                  <a:lnTo>
                    <a:pt x="298558" y="306704"/>
                  </a:lnTo>
                  <a:lnTo>
                    <a:pt x="315044" y="279415"/>
                  </a:lnTo>
                  <a:lnTo>
                    <a:pt x="338643" y="260387"/>
                  </a:lnTo>
                  <a:lnTo>
                    <a:pt x="351480" y="252389"/>
                  </a:lnTo>
                  <a:cubicBezTo>
                    <a:pt x="363769" y="248129"/>
                    <a:pt x="377473" y="246233"/>
                    <a:pt x="392214" y="246486"/>
                  </a:cubicBezTo>
                  <a:close/>
                  <a:moveTo>
                    <a:pt x="392212" y="244134"/>
                  </a:moveTo>
                  <a:lnTo>
                    <a:pt x="351479" y="250037"/>
                  </a:lnTo>
                  <a:lnTo>
                    <a:pt x="338643" y="260387"/>
                  </a:lnTo>
                  <a:lnTo>
                    <a:pt x="319234" y="272480"/>
                  </a:lnTo>
                  <a:lnTo>
                    <a:pt x="315044" y="279415"/>
                  </a:lnTo>
                  <a:lnTo>
                    <a:pt x="312270" y="281652"/>
                  </a:lnTo>
                  <a:lnTo>
                    <a:pt x="319232" y="270128"/>
                  </a:lnTo>
                  <a:cubicBezTo>
                    <a:pt x="337398" y="251715"/>
                    <a:pt x="362730" y="243629"/>
                    <a:pt x="392212" y="244134"/>
                  </a:cubicBezTo>
                  <a:close/>
                  <a:moveTo>
                    <a:pt x="392212" y="244134"/>
                  </a:moveTo>
                  <a:lnTo>
                    <a:pt x="392213" y="244134"/>
                  </a:lnTo>
                  <a:cubicBezTo>
                    <a:pt x="410311" y="244430"/>
                    <a:pt x="425709" y="247227"/>
                    <a:pt x="438667" y="252376"/>
                  </a:cubicBezTo>
                  <a:lnTo>
                    <a:pt x="438680" y="252385"/>
                  </a:lnTo>
                  <a:lnTo>
                    <a:pt x="438666" y="252376"/>
                  </a:lnTo>
                  <a:close/>
                  <a:moveTo>
                    <a:pt x="400753" y="0"/>
                  </a:moveTo>
                  <a:cubicBezTo>
                    <a:pt x="582968" y="0"/>
                    <a:pt x="730683" y="147715"/>
                    <a:pt x="730683" y="329930"/>
                  </a:cubicBezTo>
                  <a:cubicBezTo>
                    <a:pt x="730683" y="466592"/>
                    <a:pt x="647593" y="583847"/>
                    <a:pt x="529177" y="633933"/>
                  </a:cubicBezTo>
                  <a:lnTo>
                    <a:pt x="493310" y="645066"/>
                  </a:lnTo>
                  <a:lnTo>
                    <a:pt x="493231" y="627553"/>
                  </a:lnTo>
                  <a:lnTo>
                    <a:pt x="493819" y="541975"/>
                  </a:lnTo>
                  <a:lnTo>
                    <a:pt x="494300" y="506394"/>
                  </a:lnTo>
                  <a:lnTo>
                    <a:pt x="543825" y="473003"/>
                  </a:lnTo>
                  <a:cubicBezTo>
                    <a:pt x="580441" y="436388"/>
                    <a:pt x="603088" y="385804"/>
                    <a:pt x="603088" y="329930"/>
                  </a:cubicBezTo>
                  <a:cubicBezTo>
                    <a:pt x="603088" y="218183"/>
                    <a:pt x="512499" y="127594"/>
                    <a:pt x="400752" y="127594"/>
                  </a:cubicBezTo>
                  <a:cubicBezTo>
                    <a:pt x="289005" y="127594"/>
                    <a:pt x="198416" y="218183"/>
                    <a:pt x="198416" y="329930"/>
                  </a:cubicBezTo>
                  <a:cubicBezTo>
                    <a:pt x="198416" y="385804"/>
                    <a:pt x="221064" y="436388"/>
                    <a:pt x="257679" y="473003"/>
                  </a:cubicBezTo>
                  <a:lnTo>
                    <a:pt x="284785" y="491279"/>
                  </a:lnTo>
                  <a:lnTo>
                    <a:pt x="284242" y="536372"/>
                  </a:lnTo>
                  <a:lnTo>
                    <a:pt x="283227" y="604037"/>
                  </a:lnTo>
                  <a:lnTo>
                    <a:pt x="282696" y="637053"/>
                  </a:lnTo>
                  <a:lnTo>
                    <a:pt x="282693" y="637150"/>
                  </a:lnTo>
                  <a:lnTo>
                    <a:pt x="272330" y="633933"/>
                  </a:lnTo>
                  <a:cubicBezTo>
                    <a:pt x="153913" y="583847"/>
                    <a:pt x="70823" y="466592"/>
                    <a:pt x="70823" y="329930"/>
                  </a:cubicBezTo>
                  <a:cubicBezTo>
                    <a:pt x="70823" y="147715"/>
                    <a:pt x="218538" y="0"/>
                    <a:pt x="400753" y="0"/>
                  </a:cubicBezTo>
                  <a:close/>
                </a:path>
              </a:pathLst>
            </a:custGeom>
            <a:noFill/>
            <a:ln w="12700">
              <a:solidFill>
                <a:srgbClr val="0478D4"/>
              </a:solidFill>
            </a:ln>
          </p:spPr>
          <p:txBody>
            <a:bodyPr vert="horz" wrap="square" lIns="93211" tIns="46605" rIns="93211" bIns="46605" numCol="1" anchor="t" anchorCtr="0" compatLnSpc="1">
              <a:prstTxWarp prst="textNoShape">
                <a:avLst/>
              </a:prstTxWarp>
              <a:noAutofit/>
            </a:bodyPr>
            <a:lstStyle/>
            <a:p>
              <a:pPr defTabSz="932227">
                <a:defRPr/>
              </a:pPr>
              <a:endParaRPr lang="en-US" sz="3999">
                <a:solidFill>
                  <a:srgbClr val="505050"/>
                </a:solidFill>
                <a:latin typeface="Segoe UI" panose="020B0502040204020203" pitchFamily="34" charset="0"/>
                <a:cs typeface="Segoe UI" panose="020B0502040204020203" pitchFamily="34" charset="0"/>
                <a:sym typeface="Segoe UI Semibold"/>
              </a:endParaRPr>
            </a:p>
          </p:txBody>
        </p:sp>
      </p:grpSp>
      <p:sp>
        <p:nvSpPr>
          <p:cNvPr id="174" name="Rectangle: Rounded Corners 173">
            <a:extLst>
              <a:ext uri="{FF2B5EF4-FFF2-40B4-BE49-F238E27FC236}">
                <a16:creationId xmlns:a16="http://schemas.microsoft.com/office/drawing/2014/main" id="{CFAD6029-BB8E-436B-B317-492B06B75812}"/>
              </a:ext>
            </a:extLst>
          </p:cNvPr>
          <p:cNvSpPr/>
          <p:nvPr/>
        </p:nvSpPr>
        <p:spPr>
          <a:xfrm>
            <a:off x="2043653" y="2842939"/>
            <a:ext cx="1047894" cy="778522"/>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Field Gateways</a:t>
            </a:r>
          </a:p>
        </p:txBody>
      </p:sp>
      <p:sp>
        <p:nvSpPr>
          <p:cNvPr id="175" name="Rectangle: Rounded Corners 174">
            <a:extLst>
              <a:ext uri="{FF2B5EF4-FFF2-40B4-BE49-F238E27FC236}">
                <a16:creationId xmlns:a16="http://schemas.microsoft.com/office/drawing/2014/main" id="{A162CEA1-1ABE-4CAD-9EEE-392592CB1B93}"/>
              </a:ext>
            </a:extLst>
          </p:cNvPr>
          <p:cNvSpPr/>
          <p:nvPr/>
        </p:nvSpPr>
        <p:spPr>
          <a:xfrm>
            <a:off x="851334" y="2842939"/>
            <a:ext cx="912731" cy="353518"/>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Constrained Devices</a:t>
            </a:r>
          </a:p>
        </p:txBody>
      </p:sp>
      <p:sp>
        <p:nvSpPr>
          <p:cNvPr id="176" name="Rectangle: Rounded Corners 175">
            <a:extLst>
              <a:ext uri="{FF2B5EF4-FFF2-40B4-BE49-F238E27FC236}">
                <a16:creationId xmlns:a16="http://schemas.microsoft.com/office/drawing/2014/main" id="{14998521-474F-4EA3-A226-B2BA75C8BDE9}"/>
              </a:ext>
            </a:extLst>
          </p:cNvPr>
          <p:cNvSpPr/>
          <p:nvPr/>
        </p:nvSpPr>
        <p:spPr>
          <a:xfrm>
            <a:off x="851334" y="3267944"/>
            <a:ext cx="920252" cy="353518"/>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Constrained Devices</a:t>
            </a:r>
          </a:p>
        </p:txBody>
      </p:sp>
      <p:cxnSp>
        <p:nvCxnSpPr>
          <p:cNvPr id="177" name="Straight Arrow Connector 176">
            <a:extLst>
              <a:ext uri="{FF2B5EF4-FFF2-40B4-BE49-F238E27FC236}">
                <a16:creationId xmlns:a16="http://schemas.microsoft.com/office/drawing/2014/main" id="{EC87BA0E-C393-4820-B581-23C570E99BC7}"/>
              </a:ext>
            </a:extLst>
          </p:cNvPr>
          <p:cNvCxnSpPr>
            <a:cxnSpLocks/>
          </p:cNvCxnSpPr>
          <p:nvPr/>
        </p:nvCxnSpPr>
        <p:spPr>
          <a:xfrm>
            <a:off x="3091547" y="3267945"/>
            <a:ext cx="386556" cy="23357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78" name="Straight Arrow Connector 177">
            <a:extLst>
              <a:ext uri="{FF2B5EF4-FFF2-40B4-BE49-F238E27FC236}">
                <a16:creationId xmlns:a16="http://schemas.microsoft.com/office/drawing/2014/main" id="{779F9217-311E-48FC-92DD-62337BDEEA8E}"/>
              </a:ext>
            </a:extLst>
          </p:cNvPr>
          <p:cNvCxnSpPr>
            <a:cxnSpLocks/>
          </p:cNvCxnSpPr>
          <p:nvPr/>
        </p:nvCxnSpPr>
        <p:spPr>
          <a:xfrm>
            <a:off x="1777897" y="3034131"/>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79" name="Rectangle: Rounded Corners 178">
            <a:extLst>
              <a:ext uri="{FF2B5EF4-FFF2-40B4-BE49-F238E27FC236}">
                <a16:creationId xmlns:a16="http://schemas.microsoft.com/office/drawing/2014/main" id="{1DF2C455-7DD1-4E1C-B69E-AEB55DDB92FF}"/>
              </a:ext>
            </a:extLst>
          </p:cNvPr>
          <p:cNvSpPr/>
          <p:nvPr/>
        </p:nvSpPr>
        <p:spPr>
          <a:xfrm>
            <a:off x="2032083" y="3923063"/>
            <a:ext cx="1059465" cy="778522"/>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Intelligent</a:t>
            </a:r>
          </a:p>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Edge</a:t>
            </a:r>
          </a:p>
        </p:txBody>
      </p:sp>
      <p:sp>
        <p:nvSpPr>
          <p:cNvPr id="180" name="Oval 179">
            <a:extLst>
              <a:ext uri="{FF2B5EF4-FFF2-40B4-BE49-F238E27FC236}">
                <a16:creationId xmlns:a16="http://schemas.microsoft.com/office/drawing/2014/main" id="{F5251FA6-DBF6-4E32-AE86-EC39AB73B28E}"/>
              </a:ext>
            </a:extLst>
          </p:cNvPr>
          <p:cNvSpPr/>
          <p:nvPr/>
        </p:nvSpPr>
        <p:spPr bwMode="auto">
          <a:xfrm>
            <a:off x="1283642" y="1478592"/>
            <a:ext cx="1058102" cy="1058102"/>
          </a:xfrm>
          <a:prstGeom prst="ellipse">
            <a:avLst/>
          </a:prstGeom>
          <a:solidFill>
            <a:srgbClr val="00B050"/>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IoT Devices</a:t>
            </a:r>
          </a:p>
        </p:txBody>
      </p:sp>
      <p:sp>
        <p:nvSpPr>
          <p:cNvPr id="181" name="Rectangle 180">
            <a:extLst>
              <a:ext uri="{FF2B5EF4-FFF2-40B4-BE49-F238E27FC236}">
                <a16:creationId xmlns:a16="http://schemas.microsoft.com/office/drawing/2014/main" id="{EDF6DFB8-0465-4EF1-BED5-98BF5AB1F272}"/>
              </a:ext>
            </a:extLst>
          </p:cNvPr>
          <p:cNvSpPr/>
          <p:nvPr/>
        </p:nvSpPr>
        <p:spPr>
          <a:xfrm>
            <a:off x="2421681" y="1795718"/>
            <a:ext cx="919556" cy="409460"/>
          </a:xfrm>
          <a:prstGeom prst="rect">
            <a:avLst/>
          </a:prstGeom>
          <a:noFill/>
          <a:ln w="12700" cap="flat" cmpd="sng" algn="ctr">
            <a:noFill/>
            <a:prstDash val="solid"/>
            <a:miter lim="800000"/>
          </a:ln>
          <a:effectLst/>
        </p:spPr>
        <p:txBody>
          <a:bodyPr rtlCol="0" anchor="ctr"/>
          <a:lstStyle/>
          <a:p>
            <a:pPr algn="ctr" defTabSz="914126">
              <a:defRPr/>
            </a:pPr>
            <a:r>
              <a:rPr lang="en-AU" sz="1100">
                <a:solidFill>
                  <a:prstClr val="black"/>
                </a:solidFill>
                <a:latin typeface="Segoe UI" panose="020B0502040204020203" pitchFamily="34" charset="0"/>
                <a:cs typeface="Segoe UI" panose="020B0502040204020203" pitchFamily="34" charset="0"/>
                <a:sym typeface="Segoe UI Semibold"/>
              </a:rPr>
              <a:t>Custom</a:t>
            </a:r>
          </a:p>
          <a:p>
            <a:pPr algn="ctr" defTabSz="914126">
              <a:defRPr/>
            </a:pPr>
            <a:r>
              <a:rPr lang="en-AU" sz="1100">
                <a:solidFill>
                  <a:prstClr val="black"/>
                </a:solidFill>
                <a:latin typeface="Segoe UI" panose="020B0502040204020203" pitchFamily="34" charset="0"/>
                <a:cs typeface="Segoe UI" panose="020B0502040204020203" pitchFamily="34" charset="0"/>
                <a:sym typeface="Segoe UI Semibold"/>
              </a:rPr>
              <a:t> Protocols</a:t>
            </a:r>
          </a:p>
        </p:txBody>
      </p:sp>
      <p:sp>
        <p:nvSpPr>
          <p:cNvPr id="182" name="Rectangle: Rounded Corners 181">
            <a:extLst>
              <a:ext uri="{FF2B5EF4-FFF2-40B4-BE49-F238E27FC236}">
                <a16:creationId xmlns:a16="http://schemas.microsoft.com/office/drawing/2014/main" id="{D3E6D136-2189-4506-B09C-7DD299FEA796}"/>
              </a:ext>
            </a:extLst>
          </p:cNvPr>
          <p:cNvSpPr/>
          <p:nvPr/>
        </p:nvSpPr>
        <p:spPr>
          <a:xfrm>
            <a:off x="3340713" y="1692060"/>
            <a:ext cx="1047894" cy="625768"/>
          </a:xfrm>
          <a:prstGeom prst="roundRect">
            <a:avLst/>
          </a:prstGeom>
          <a:solidFill>
            <a:srgbClr val="00B050"/>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Custom</a:t>
            </a:r>
          </a:p>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Cloud Gateways</a:t>
            </a:r>
          </a:p>
        </p:txBody>
      </p:sp>
      <p:cxnSp>
        <p:nvCxnSpPr>
          <p:cNvPr id="183" name="Straight Arrow Connector 182">
            <a:extLst>
              <a:ext uri="{FF2B5EF4-FFF2-40B4-BE49-F238E27FC236}">
                <a16:creationId xmlns:a16="http://schemas.microsoft.com/office/drawing/2014/main" id="{3DE76813-95AB-4DF4-A57D-37DEC215A923}"/>
              </a:ext>
            </a:extLst>
          </p:cNvPr>
          <p:cNvCxnSpPr>
            <a:cxnSpLocks/>
          </p:cNvCxnSpPr>
          <p:nvPr/>
        </p:nvCxnSpPr>
        <p:spPr>
          <a:xfrm flipV="1">
            <a:off x="2341745" y="2000449"/>
            <a:ext cx="999493" cy="719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4" name="Straight Arrow Connector 183">
            <a:extLst>
              <a:ext uri="{FF2B5EF4-FFF2-40B4-BE49-F238E27FC236}">
                <a16:creationId xmlns:a16="http://schemas.microsoft.com/office/drawing/2014/main" id="{BEFBE9DD-4556-4C2E-81D4-35C65858B8C5}"/>
              </a:ext>
            </a:extLst>
          </p:cNvPr>
          <p:cNvCxnSpPr>
            <a:cxnSpLocks/>
          </p:cNvCxnSpPr>
          <p:nvPr/>
        </p:nvCxnSpPr>
        <p:spPr>
          <a:xfrm>
            <a:off x="3864660" y="2317828"/>
            <a:ext cx="142" cy="105534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5" name="Straight Arrow Connector 184">
            <a:extLst>
              <a:ext uri="{FF2B5EF4-FFF2-40B4-BE49-F238E27FC236}">
                <a16:creationId xmlns:a16="http://schemas.microsoft.com/office/drawing/2014/main" id="{5600C90A-76A7-4508-8768-81B6F5EE9254}"/>
              </a:ext>
            </a:extLst>
          </p:cNvPr>
          <p:cNvCxnSpPr>
            <a:cxnSpLocks/>
          </p:cNvCxnSpPr>
          <p:nvPr/>
        </p:nvCxnSpPr>
        <p:spPr>
          <a:xfrm>
            <a:off x="1777897" y="3452768"/>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6" name="Straight Arrow Connector 185">
            <a:extLst>
              <a:ext uri="{FF2B5EF4-FFF2-40B4-BE49-F238E27FC236}">
                <a16:creationId xmlns:a16="http://schemas.microsoft.com/office/drawing/2014/main" id="{C8A65B6A-CD3A-44B4-81B5-ED6A718403B2}"/>
              </a:ext>
            </a:extLst>
          </p:cNvPr>
          <p:cNvCxnSpPr>
            <a:cxnSpLocks/>
          </p:cNvCxnSpPr>
          <p:nvPr/>
        </p:nvCxnSpPr>
        <p:spPr>
          <a:xfrm flipV="1">
            <a:off x="3099168" y="4263249"/>
            <a:ext cx="211735" cy="69838"/>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87" name="Rectangle: Rounded Corners 186">
            <a:extLst>
              <a:ext uri="{FF2B5EF4-FFF2-40B4-BE49-F238E27FC236}">
                <a16:creationId xmlns:a16="http://schemas.microsoft.com/office/drawing/2014/main" id="{14AC6151-51E9-4930-A3D1-BDF68A392F26}"/>
              </a:ext>
            </a:extLst>
          </p:cNvPr>
          <p:cNvSpPr/>
          <p:nvPr/>
        </p:nvSpPr>
        <p:spPr>
          <a:xfrm>
            <a:off x="858856" y="3923062"/>
            <a:ext cx="912731" cy="353518"/>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Edge Devices</a:t>
            </a:r>
          </a:p>
        </p:txBody>
      </p:sp>
      <p:sp>
        <p:nvSpPr>
          <p:cNvPr id="188" name="Rectangle: Rounded Corners 187">
            <a:extLst>
              <a:ext uri="{FF2B5EF4-FFF2-40B4-BE49-F238E27FC236}">
                <a16:creationId xmlns:a16="http://schemas.microsoft.com/office/drawing/2014/main" id="{3D0B110B-CA35-4FBB-8EFD-EB65144B58D7}"/>
              </a:ext>
            </a:extLst>
          </p:cNvPr>
          <p:cNvSpPr/>
          <p:nvPr/>
        </p:nvSpPr>
        <p:spPr>
          <a:xfrm>
            <a:off x="858856" y="4348067"/>
            <a:ext cx="920252" cy="353518"/>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Edge Devices</a:t>
            </a:r>
          </a:p>
        </p:txBody>
      </p:sp>
      <p:cxnSp>
        <p:nvCxnSpPr>
          <p:cNvPr id="189" name="Straight Arrow Connector 188">
            <a:extLst>
              <a:ext uri="{FF2B5EF4-FFF2-40B4-BE49-F238E27FC236}">
                <a16:creationId xmlns:a16="http://schemas.microsoft.com/office/drawing/2014/main" id="{998B98AA-9E52-42C4-A78A-AB6DE9301547}"/>
              </a:ext>
            </a:extLst>
          </p:cNvPr>
          <p:cNvCxnSpPr>
            <a:cxnSpLocks/>
          </p:cNvCxnSpPr>
          <p:nvPr/>
        </p:nvCxnSpPr>
        <p:spPr>
          <a:xfrm>
            <a:off x="1764064" y="4115316"/>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90" name="Straight Arrow Connector 189">
            <a:extLst>
              <a:ext uri="{FF2B5EF4-FFF2-40B4-BE49-F238E27FC236}">
                <a16:creationId xmlns:a16="http://schemas.microsoft.com/office/drawing/2014/main" id="{4105D59F-443F-4871-9E51-8C192A495138}"/>
              </a:ext>
            </a:extLst>
          </p:cNvPr>
          <p:cNvCxnSpPr>
            <a:cxnSpLocks/>
          </p:cNvCxnSpPr>
          <p:nvPr/>
        </p:nvCxnSpPr>
        <p:spPr>
          <a:xfrm>
            <a:off x="1764064" y="4514903"/>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grpSp>
        <p:nvGrpSpPr>
          <p:cNvPr id="48" name="Group 47">
            <a:extLst>
              <a:ext uri="{FF2B5EF4-FFF2-40B4-BE49-F238E27FC236}">
                <a16:creationId xmlns:a16="http://schemas.microsoft.com/office/drawing/2014/main" id="{54976302-9393-4E95-9588-336F1F3EF87F}"/>
              </a:ext>
            </a:extLst>
          </p:cNvPr>
          <p:cNvGrpSpPr/>
          <p:nvPr/>
        </p:nvGrpSpPr>
        <p:grpSpPr>
          <a:xfrm>
            <a:off x="2048376" y="6047952"/>
            <a:ext cx="450060" cy="575298"/>
            <a:chOff x="3041653" y="4644257"/>
            <a:chExt cx="1318030" cy="1684798"/>
          </a:xfrm>
        </p:grpSpPr>
        <p:sp>
          <p:nvSpPr>
            <p:cNvPr id="49" name="Oval 48">
              <a:extLst>
                <a:ext uri="{FF2B5EF4-FFF2-40B4-BE49-F238E27FC236}">
                  <a16:creationId xmlns:a16="http://schemas.microsoft.com/office/drawing/2014/main" id="{3EB3031F-BE29-4559-BBCA-F743449C485C}"/>
                </a:ext>
              </a:extLst>
            </p:cNvPr>
            <p:cNvSpPr/>
            <p:nvPr/>
          </p:nvSpPr>
          <p:spPr bwMode="auto">
            <a:xfrm>
              <a:off x="3070081" y="4644257"/>
              <a:ext cx="1261176" cy="1261176"/>
            </a:xfrm>
            <a:prstGeom prst="ellipse">
              <a:avLst/>
            </a:prstGeom>
            <a:noFill/>
            <a:ln w="19050">
              <a:solidFill>
                <a:srgbClr val="04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799">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sym typeface="Segoe UI Semibold"/>
              </a:endParaRPr>
            </a:p>
          </p:txBody>
        </p:sp>
        <p:grpSp>
          <p:nvGrpSpPr>
            <p:cNvPr id="50" name="Group 49">
              <a:extLst>
                <a:ext uri="{FF2B5EF4-FFF2-40B4-BE49-F238E27FC236}">
                  <a16:creationId xmlns:a16="http://schemas.microsoft.com/office/drawing/2014/main" id="{0A6CD212-49A9-42EE-B662-54A0576FFBE4}"/>
                </a:ext>
              </a:extLst>
            </p:cNvPr>
            <p:cNvGrpSpPr/>
            <p:nvPr/>
          </p:nvGrpSpPr>
          <p:grpSpPr>
            <a:xfrm rot="-2700000">
              <a:off x="3041653" y="5011025"/>
              <a:ext cx="1318030" cy="1318030"/>
              <a:chOff x="2059298" y="4518808"/>
              <a:chExt cx="914400" cy="914400"/>
            </a:xfrm>
          </p:grpSpPr>
          <p:sp>
            <p:nvSpPr>
              <p:cNvPr id="52" name="Arc 51">
                <a:extLst>
                  <a:ext uri="{FF2B5EF4-FFF2-40B4-BE49-F238E27FC236}">
                    <a16:creationId xmlns:a16="http://schemas.microsoft.com/office/drawing/2014/main" id="{34B27B67-8AC6-4E17-83B0-739D1F0C6BCB}"/>
                  </a:ext>
                </a:extLst>
              </p:cNvPr>
              <p:cNvSpPr/>
              <p:nvPr/>
            </p:nvSpPr>
            <p:spPr>
              <a:xfrm>
                <a:off x="2059298" y="4518808"/>
                <a:ext cx="914400" cy="9144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3" name="Arc 52">
                <a:extLst>
                  <a:ext uri="{FF2B5EF4-FFF2-40B4-BE49-F238E27FC236}">
                    <a16:creationId xmlns:a16="http://schemas.microsoft.com/office/drawing/2014/main" id="{E77DF2BB-F73B-4979-901E-85998440080D}"/>
                  </a:ext>
                </a:extLst>
              </p:cNvPr>
              <p:cNvSpPr/>
              <p:nvPr/>
            </p:nvSpPr>
            <p:spPr>
              <a:xfrm>
                <a:off x="2289175" y="4744664"/>
                <a:ext cx="457200" cy="4572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5" name="Arc 54">
                <a:extLst>
                  <a:ext uri="{FF2B5EF4-FFF2-40B4-BE49-F238E27FC236}">
                    <a16:creationId xmlns:a16="http://schemas.microsoft.com/office/drawing/2014/main" id="{F43D5C87-CC58-4ABF-8C8D-8BEB80CBBF15}"/>
                  </a:ext>
                </a:extLst>
              </p:cNvPr>
              <p:cNvSpPr/>
              <p:nvPr/>
            </p:nvSpPr>
            <p:spPr>
              <a:xfrm>
                <a:off x="2173598" y="4630364"/>
                <a:ext cx="685800" cy="6858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6" name="Oval 55">
                <a:extLst>
                  <a:ext uri="{FF2B5EF4-FFF2-40B4-BE49-F238E27FC236}">
                    <a16:creationId xmlns:a16="http://schemas.microsoft.com/office/drawing/2014/main" id="{CBBCE90B-5E18-4B7C-891A-22DEAE698C67}"/>
                  </a:ext>
                </a:extLst>
              </p:cNvPr>
              <p:cNvSpPr/>
              <p:nvPr/>
            </p:nvSpPr>
            <p:spPr bwMode="auto">
              <a:xfrm>
                <a:off x="2516498" y="4860758"/>
                <a:ext cx="111450" cy="111450"/>
              </a:xfrm>
              <a:prstGeom prst="ellipse">
                <a:avLst/>
              </a:prstGeom>
              <a:noFill/>
              <a:ln w="12700">
                <a:solidFill>
                  <a:srgbClr val="04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grpSp>
      </p:grpSp>
    </p:spTree>
    <p:extLst>
      <p:ext uri="{BB962C8B-B14F-4D97-AF65-F5344CB8AC3E}">
        <p14:creationId xmlns:p14="http://schemas.microsoft.com/office/powerpoint/2010/main" val="224528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5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6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6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4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4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5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6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6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53" grpId="0"/>
      <p:bldP spid="154" grpId="0"/>
      <p:bldP spid="155" grpId="0"/>
      <p:bldP spid="156" grpId="0"/>
      <p:bldP spid="158" grpId="0"/>
      <p:bldP spid="160" grpId="0" animBg="1"/>
      <p:bldP spid="161" grpId="0"/>
      <p:bldP spid="162" grpId="0" animBg="1"/>
      <p:bldP spid="163" grpId="0" animBg="1"/>
      <p:bldP spid="164" grpId="0" animBg="1"/>
      <p:bldP spid="165" grpId="0" animBg="1"/>
      <p:bldP spid="174" grpId="0" animBg="1"/>
      <p:bldP spid="175" grpId="0" animBg="1"/>
      <p:bldP spid="176" grpId="0" animBg="1"/>
      <p:bldP spid="179" grpId="0" animBg="1"/>
      <p:bldP spid="180" grpId="0" animBg="1"/>
      <p:bldP spid="181" grpId="0"/>
      <p:bldP spid="182" grpId="0" animBg="1"/>
      <p:bldP spid="187" grpId="0" animBg="1"/>
      <p:bldP spid="18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AB401C60-694E-478D-9367-8FB64475E126}"/>
              </a:ext>
            </a:extLst>
          </p:cNvPr>
          <p:cNvGraphicFramePr/>
          <p:nvPr/>
        </p:nvGraphicFramePr>
        <p:xfrm>
          <a:off x="270066" y="1189496"/>
          <a:ext cx="11651869" cy="4948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8E29CEF-A27F-43AF-ABD5-8CE844B41AAF}"/>
              </a:ext>
            </a:extLst>
          </p:cNvPr>
          <p:cNvGrpSpPr/>
          <p:nvPr/>
        </p:nvGrpSpPr>
        <p:grpSpPr>
          <a:xfrm>
            <a:off x="5003436" y="1494704"/>
            <a:ext cx="2187372" cy="1651358"/>
            <a:chOff x="779721" y="1552353"/>
            <a:chExt cx="2863702" cy="2161954"/>
          </a:xfrm>
        </p:grpSpPr>
        <p:sp>
          <p:nvSpPr>
            <p:cNvPr id="6" name="Rectangle: Rounded Corners 5">
              <a:extLst>
                <a:ext uri="{FF2B5EF4-FFF2-40B4-BE49-F238E27FC236}">
                  <a16:creationId xmlns:a16="http://schemas.microsoft.com/office/drawing/2014/main" id="{2F3102B4-BC2A-4647-B542-3E60A815A492}"/>
                </a:ext>
              </a:extLst>
            </p:cNvPr>
            <p:cNvSpPr/>
            <p:nvPr/>
          </p:nvSpPr>
          <p:spPr bwMode="auto">
            <a:xfrm>
              <a:off x="1046313" y="2288963"/>
              <a:ext cx="1431852" cy="1290084"/>
            </a:xfrm>
            <a:prstGeom prst="roundRect">
              <a:avLst/>
            </a:prstGeom>
            <a:solidFill>
              <a:schemeClr val="bg1">
                <a:lumMod val="20000"/>
                <a:lumOff val="80000"/>
              </a:schemeClr>
            </a:solidFill>
            <a:ln>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solidFill>
                    <a:srgbClr val="505050">
                      <a:lumMod val="50000"/>
                    </a:srgbClr>
                  </a:solidFill>
                  <a:latin typeface="Segoe UI"/>
                </a:rPr>
                <a:t>Factory</a:t>
              </a:r>
            </a:p>
            <a:p>
              <a:pPr algn="ctr" defTabSz="932293" fontAlgn="base">
                <a:spcBef>
                  <a:spcPct val="0"/>
                </a:spcBef>
                <a:spcAft>
                  <a:spcPct val="0"/>
                </a:spcAft>
              </a:pPr>
              <a:endParaRPr lang="en-US" sz="1600">
                <a:solidFill>
                  <a:srgbClr val="505050">
                    <a:lumMod val="50000"/>
                  </a:srgbClr>
                </a:solidFill>
                <a:latin typeface="Segoe UI"/>
              </a:endParaRPr>
            </a:p>
            <a:p>
              <a:pPr algn="ctr" defTabSz="932293" fontAlgn="base">
                <a:spcBef>
                  <a:spcPct val="0"/>
                </a:spcBef>
                <a:spcAft>
                  <a:spcPct val="0"/>
                </a:spcAft>
              </a:pPr>
              <a:endParaRPr lang="en-US" sz="1600">
                <a:solidFill>
                  <a:srgbClr val="505050">
                    <a:lumMod val="50000"/>
                  </a:srgbClr>
                </a:solidFill>
                <a:latin typeface="Segoe UI"/>
              </a:endParaRPr>
            </a:p>
            <a:p>
              <a:pPr algn="ctr" defTabSz="932293" fontAlgn="base">
                <a:spcBef>
                  <a:spcPct val="0"/>
                </a:spcBef>
                <a:spcAft>
                  <a:spcPct val="0"/>
                </a:spcAft>
              </a:pPr>
              <a:endParaRPr lang="en-US" sz="1600">
                <a:solidFill>
                  <a:srgbClr val="505050">
                    <a:lumMod val="50000"/>
                  </a:srgbClr>
                </a:solidFill>
                <a:latin typeface="Segoe UI"/>
              </a:endParaRPr>
            </a:p>
          </p:txBody>
        </p:sp>
        <p:sp>
          <p:nvSpPr>
            <p:cNvPr id="7" name="Rectangle 6">
              <a:extLst>
                <a:ext uri="{FF2B5EF4-FFF2-40B4-BE49-F238E27FC236}">
                  <a16:creationId xmlns:a16="http://schemas.microsoft.com/office/drawing/2014/main" id="{7E73DA47-96ED-452D-9547-19C651868CBB}"/>
                </a:ext>
              </a:extLst>
            </p:cNvPr>
            <p:cNvSpPr/>
            <p:nvPr/>
          </p:nvSpPr>
          <p:spPr bwMode="auto">
            <a:xfrm>
              <a:off x="779721" y="1552353"/>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pic>
          <p:nvPicPr>
            <p:cNvPr id="8" name="Graphic 7">
              <a:extLst>
                <a:ext uri="{FF2B5EF4-FFF2-40B4-BE49-F238E27FC236}">
                  <a16:creationId xmlns:a16="http://schemas.microsoft.com/office/drawing/2014/main" id="{B8735D50-8D13-4973-8470-63A2718AE0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195" y="2839699"/>
              <a:ext cx="693564" cy="693564"/>
            </a:xfrm>
            <a:prstGeom prst="rect">
              <a:avLst/>
            </a:prstGeom>
          </p:spPr>
        </p:pic>
        <p:pic>
          <p:nvPicPr>
            <p:cNvPr id="9" name="Graphic 8">
              <a:extLst>
                <a:ext uri="{FF2B5EF4-FFF2-40B4-BE49-F238E27FC236}">
                  <a16:creationId xmlns:a16="http://schemas.microsoft.com/office/drawing/2014/main" id="{B942C7EF-ADDA-48AB-9E72-F8E6E9AF4E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15611" y="2839699"/>
              <a:ext cx="693564" cy="693564"/>
            </a:xfrm>
            <a:prstGeom prst="rect">
              <a:avLst/>
            </a:prstGeom>
          </p:spPr>
        </p:pic>
        <p:sp>
          <p:nvSpPr>
            <p:cNvPr id="10" name="Rectangle 9">
              <a:extLst>
                <a:ext uri="{FF2B5EF4-FFF2-40B4-BE49-F238E27FC236}">
                  <a16:creationId xmlns:a16="http://schemas.microsoft.com/office/drawing/2014/main" id="{EBDD00B0-664D-4A49-AD2A-19A0FBF3EA37}"/>
                </a:ext>
              </a:extLst>
            </p:cNvPr>
            <p:cNvSpPr/>
            <p:nvPr/>
          </p:nvSpPr>
          <p:spPr bwMode="auto">
            <a:xfrm>
              <a:off x="2211572" y="2527010"/>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GW</a:t>
              </a:r>
            </a:p>
          </p:txBody>
        </p:sp>
        <p:sp>
          <p:nvSpPr>
            <p:cNvPr id="11" name="Cloud 10">
              <a:extLst>
                <a:ext uri="{FF2B5EF4-FFF2-40B4-BE49-F238E27FC236}">
                  <a16:creationId xmlns:a16="http://schemas.microsoft.com/office/drawing/2014/main" id="{A752495F-476C-44E5-A0BA-81E133099E81}"/>
                </a:ext>
              </a:extLst>
            </p:cNvPr>
            <p:cNvSpPr/>
            <p:nvPr/>
          </p:nvSpPr>
          <p:spPr bwMode="auto">
            <a:xfrm>
              <a:off x="2502195" y="1618169"/>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12" name="Connector: Elbow 11">
              <a:extLst>
                <a:ext uri="{FF2B5EF4-FFF2-40B4-BE49-F238E27FC236}">
                  <a16:creationId xmlns:a16="http://schemas.microsoft.com/office/drawing/2014/main" id="{B22C9005-2B2D-479F-A16D-89F4A6A2CCC9}"/>
                </a:ext>
              </a:extLst>
            </p:cNvPr>
            <p:cNvCxnSpPr>
              <a:cxnSpLocks/>
              <a:stCxn id="10" idx="3"/>
              <a:endCxn id="11" idx="1"/>
            </p:cNvCxnSpPr>
            <p:nvPr/>
          </p:nvCxnSpPr>
          <p:spPr>
            <a:xfrm flipV="1">
              <a:off x="2679405" y="2531595"/>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1C449A0-5CB8-49F6-85B0-A9EA73193B83}"/>
                </a:ext>
              </a:extLst>
            </p:cNvPr>
            <p:cNvCxnSpPr>
              <a:cxnSpLocks/>
              <a:stCxn id="9" idx="0"/>
              <a:endCxn id="10" idx="1"/>
            </p:cNvCxnSpPr>
            <p:nvPr/>
          </p:nvCxnSpPr>
          <p:spPr>
            <a:xfrm rot="5400000" flipH="1" flipV="1">
              <a:off x="1934305" y="2562433"/>
              <a:ext cx="105354" cy="44917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9B70359-7979-4680-9E87-2C8448D27623}"/>
                </a:ext>
              </a:extLst>
            </p:cNvPr>
            <p:cNvCxnSpPr>
              <a:cxnSpLocks/>
              <a:stCxn id="8" idx="0"/>
              <a:endCxn id="10" idx="1"/>
            </p:cNvCxnSpPr>
            <p:nvPr/>
          </p:nvCxnSpPr>
          <p:spPr>
            <a:xfrm rot="5400000" flipH="1" flipV="1">
              <a:off x="1715597" y="2343725"/>
              <a:ext cx="105354" cy="886595"/>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7CC930A-F1A5-4A57-A4C4-3CA246998D49}"/>
              </a:ext>
            </a:extLst>
          </p:cNvPr>
          <p:cNvGrpSpPr/>
          <p:nvPr/>
        </p:nvGrpSpPr>
        <p:grpSpPr>
          <a:xfrm>
            <a:off x="7321355" y="1544727"/>
            <a:ext cx="2192179" cy="1651358"/>
            <a:chOff x="4714561" y="1552353"/>
            <a:chExt cx="2869996" cy="2161954"/>
          </a:xfrm>
        </p:grpSpPr>
        <p:sp>
          <p:nvSpPr>
            <p:cNvPr id="16" name="Rectangle 15">
              <a:extLst>
                <a:ext uri="{FF2B5EF4-FFF2-40B4-BE49-F238E27FC236}">
                  <a16:creationId xmlns:a16="http://schemas.microsoft.com/office/drawing/2014/main" id="{1AADBE84-6381-40B7-9478-A2C48DAB196D}"/>
                </a:ext>
              </a:extLst>
            </p:cNvPr>
            <p:cNvSpPr/>
            <p:nvPr/>
          </p:nvSpPr>
          <p:spPr bwMode="auto">
            <a:xfrm>
              <a:off x="4720855" y="1552353"/>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17" name="Rectangle 16">
              <a:extLst>
                <a:ext uri="{FF2B5EF4-FFF2-40B4-BE49-F238E27FC236}">
                  <a16:creationId xmlns:a16="http://schemas.microsoft.com/office/drawing/2014/main" id="{3E2B4E34-4DF8-4F7C-83A1-A40FBE7C3AD6}"/>
                </a:ext>
              </a:extLst>
            </p:cNvPr>
            <p:cNvSpPr/>
            <p:nvPr/>
          </p:nvSpPr>
          <p:spPr bwMode="auto">
            <a:xfrm>
              <a:off x="6152706" y="2527010"/>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PG</a:t>
              </a:r>
            </a:p>
          </p:txBody>
        </p:sp>
        <p:sp>
          <p:nvSpPr>
            <p:cNvPr id="18" name="Cloud 17">
              <a:extLst>
                <a:ext uri="{FF2B5EF4-FFF2-40B4-BE49-F238E27FC236}">
                  <a16:creationId xmlns:a16="http://schemas.microsoft.com/office/drawing/2014/main" id="{D3EADE2B-55AB-442E-8CDC-EC4D3ED6A46A}"/>
                </a:ext>
              </a:extLst>
            </p:cNvPr>
            <p:cNvSpPr/>
            <p:nvPr/>
          </p:nvSpPr>
          <p:spPr bwMode="auto">
            <a:xfrm>
              <a:off x="6443329" y="1618169"/>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19" name="Connector: Elbow 18">
              <a:extLst>
                <a:ext uri="{FF2B5EF4-FFF2-40B4-BE49-F238E27FC236}">
                  <a16:creationId xmlns:a16="http://schemas.microsoft.com/office/drawing/2014/main" id="{410359C0-9EE7-4B96-95EC-D28A7FCBE9C6}"/>
                </a:ext>
              </a:extLst>
            </p:cNvPr>
            <p:cNvCxnSpPr>
              <a:cxnSpLocks/>
              <a:stCxn id="17" idx="3"/>
              <a:endCxn id="18" idx="1"/>
            </p:cNvCxnSpPr>
            <p:nvPr/>
          </p:nvCxnSpPr>
          <p:spPr>
            <a:xfrm flipV="1">
              <a:off x="6620539" y="2531595"/>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3A374039-D57C-4478-942A-0BA7ABF7B9C4}"/>
                </a:ext>
              </a:extLst>
            </p:cNvPr>
            <p:cNvCxnSpPr>
              <a:cxnSpLocks/>
              <a:stCxn id="22" idx="0"/>
              <a:endCxn id="17" idx="1"/>
            </p:cNvCxnSpPr>
            <p:nvPr/>
          </p:nvCxnSpPr>
          <p:spPr>
            <a:xfrm rot="5400000" flipH="1" flipV="1">
              <a:off x="5867451" y="2704637"/>
              <a:ext cx="255547" cy="314964"/>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386026-A37A-4DE8-914C-9B6A05DC2837}"/>
                </a:ext>
              </a:extLst>
            </p:cNvPr>
            <p:cNvCxnSpPr>
              <a:cxnSpLocks/>
              <a:stCxn id="23" idx="0"/>
              <a:endCxn id="17" idx="1"/>
            </p:cNvCxnSpPr>
            <p:nvPr/>
          </p:nvCxnSpPr>
          <p:spPr>
            <a:xfrm rot="5400000" flipH="1" flipV="1">
              <a:off x="5633589" y="2294994"/>
              <a:ext cx="79765" cy="95846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 name="Graphic 21" descr="Car">
              <a:extLst>
                <a:ext uri="{FF2B5EF4-FFF2-40B4-BE49-F238E27FC236}">
                  <a16:creationId xmlns:a16="http://schemas.microsoft.com/office/drawing/2014/main" id="{3B71BA1B-D2EC-4F93-8027-AB7DCB8E4E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22778" y="2989892"/>
              <a:ext cx="629928" cy="629928"/>
            </a:xfrm>
            <a:prstGeom prst="rect">
              <a:avLst/>
            </a:prstGeom>
          </p:spPr>
        </p:pic>
        <p:pic>
          <p:nvPicPr>
            <p:cNvPr id="23" name="Graphic 22" descr="Car">
              <a:extLst>
                <a:ext uri="{FF2B5EF4-FFF2-40B4-BE49-F238E27FC236}">
                  <a16:creationId xmlns:a16="http://schemas.microsoft.com/office/drawing/2014/main" id="{130D380A-B0BE-4CC9-99AA-D376EE7967A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79273" y="2814110"/>
              <a:ext cx="629928" cy="629928"/>
            </a:xfrm>
            <a:prstGeom prst="rect">
              <a:avLst/>
            </a:prstGeom>
          </p:spPr>
        </p:pic>
        <p:pic>
          <p:nvPicPr>
            <p:cNvPr id="24" name="Graphic 23" descr="Car">
              <a:extLst>
                <a:ext uri="{FF2B5EF4-FFF2-40B4-BE49-F238E27FC236}">
                  <a16:creationId xmlns:a16="http://schemas.microsoft.com/office/drawing/2014/main" id="{DA037881-2C72-4D74-84DC-02B37FA5A8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14561" y="2039504"/>
              <a:ext cx="629928" cy="629928"/>
            </a:xfrm>
            <a:prstGeom prst="rect">
              <a:avLst/>
            </a:prstGeom>
          </p:spPr>
        </p:pic>
        <p:pic>
          <p:nvPicPr>
            <p:cNvPr id="25" name="Graphic 24" descr="Car">
              <a:extLst>
                <a:ext uri="{FF2B5EF4-FFF2-40B4-BE49-F238E27FC236}">
                  <a16:creationId xmlns:a16="http://schemas.microsoft.com/office/drawing/2014/main" id="{126E12DC-093C-4FE6-A6C8-D97A0DD108C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98263" y="1874153"/>
              <a:ext cx="629928" cy="629928"/>
            </a:xfrm>
            <a:prstGeom prst="rect">
              <a:avLst/>
            </a:prstGeom>
          </p:spPr>
        </p:pic>
        <p:cxnSp>
          <p:nvCxnSpPr>
            <p:cNvPr id="26" name="Connector: Elbow 25">
              <a:extLst>
                <a:ext uri="{FF2B5EF4-FFF2-40B4-BE49-F238E27FC236}">
                  <a16:creationId xmlns:a16="http://schemas.microsoft.com/office/drawing/2014/main" id="{93A5D461-9BBD-4520-B711-3B2C795142EC}"/>
                </a:ext>
              </a:extLst>
            </p:cNvPr>
            <p:cNvCxnSpPr>
              <a:cxnSpLocks/>
              <a:stCxn id="25" idx="2"/>
              <a:endCxn id="17" idx="1"/>
            </p:cNvCxnSpPr>
            <p:nvPr/>
          </p:nvCxnSpPr>
          <p:spPr>
            <a:xfrm rot="16200000" flipH="1">
              <a:off x="5817834" y="2399473"/>
              <a:ext cx="230264" cy="43947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D871C256-B38F-4E3B-8B73-E26CDFA4B3B7}"/>
                </a:ext>
              </a:extLst>
            </p:cNvPr>
            <p:cNvCxnSpPr>
              <a:cxnSpLocks/>
              <a:stCxn id="24" idx="2"/>
              <a:endCxn id="17" idx="1"/>
            </p:cNvCxnSpPr>
            <p:nvPr/>
          </p:nvCxnSpPr>
          <p:spPr>
            <a:xfrm rot="16200000" flipH="1">
              <a:off x="5558659" y="2140297"/>
              <a:ext cx="64913" cy="1123181"/>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686533F-085D-4D67-8902-C75BF607ED8C}"/>
              </a:ext>
            </a:extLst>
          </p:cNvPr>
          <p:cNvGrpSpPr/>
          <p:nvPr/>
        </p:nvGrpSpPr>
        <p:grpSpPr>
          <a:xfrm>
            <a:off x="9467351" y="1442529"/>
            <a:ext cx="2187372" cy="1676398"/>
            <a:chOff x="8931349" y="1457866"/>
            <a:chExt cx="2863702" cy="2194735"/>
          </a:xfrm>
        </p:grpSpPr>
        <p:sp>
          <p:nvSpPr>
            <p:cNvPr id="29" name="Rectangle: Rounded Corners 28">
              <a:extLst>
                <a:ext uri="{FF2B5EF4-FFF2-40B4-BE49-F238E27FC236}">
                  <a16:creationId xmlns:a16="http://schemas.microsoft.com/office/drawing/2014/main" id="{6FC67862-F1CC-418C-B790-39452B91C232}"/>
                </a:ext>
              </a:extLst>
            </p:cNvPr>
            <p:cNvSpPr/>
            <p:nvPr/>
          </p:nvSpPr>
          <p:spPr bwMode="auto">
            <a:xfrm>
              <a:off x="9066028" y="1844062"/>
              <a:ext cx="1431852" cy="1775758"/>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1400">
                  <a:solidFill>
                    <a:srgbClr val="505050">
                      <a:lumMod val="50000"/>
                    </a:srgbClr>
                  </a:solidFill>
                  <a:latin typeface="Segoe UI"/>
                </a:rPr>
                <a:t>Edge device</a:t>
              </a:r>
            </a:p>
            <a:p>
              <a:pPr algn="ctr" defTabSz="932293" fontAlgn="base">
                <a:spcBef>
                  <a:spcPct val="0"/>
                </a:spcBef>
                <a:spcAft>
                  <a:spcPct val="0"/>
                </a:spcAft>
              </a:pPr>
              <a:endParaRPr lang="en-US" sz="1400">
                <a:solidFill>
                  <a:srgbClr val="505050">
                    <a:lumMod val="50000"/>
                  </a:srgbClr>
                </a:solidFill>
                <a:latin typeface="Segoe UI"/>
              </a:endParaRPr>
            </a:p>
            <a:p>
              <a:pPr algn="ctr" defTabSz="932293" fontAlgn="base">
                <a:spcBef>
                  <a:spcPct val="0"/>
                </a:spcBef>
                <a:spcAft>
                  <a:spcPct val="0"/>
                </a:spcAft>
              </a:pPr>
              <a:endParaRPr lang="en-US" sz="1400">
                <a:solidFill>
                  <a:srgbClr val="505050">
                    <a:lumMod val="50000"/>
                  </a:srgbClr>
                </a:solidFill>
                <a:latin typeface="Segoe UI"/>
              </a:endParaRPr>
            </a:p>
            <a:p>
              <a:pPr algn="ctr" defTabSz="932293" fontAlgn="base">
                <a:spcBef>
                  <a:spcPct val="0"/>
                </a:spcBef>
                <a:spcAft>
                  <a:spcPct val="0"/>
                </a:spcAft>
              </a:pPr>
              <a:endParaRPr lang="en-US" sz="1400">
                <a:solidFill>
                  <a:srgbClr val="505050">
                    <a:lumMod val="50000"/>
                  </a:srgbClr>
                </a:solidFill>
                <a:latin typeface="Segoe UI"/>
              </a:endParaRPr>
            </a:p>
          </p:txBody>
        </p:sp>
        <p:sp>
          <p:nvSpPr>
            <p:cNvPr id="30" name="Rectangle 29">
              <a:extLst>
                <a:ext uri="{FF2B5EF4-FFF2-40B4-BE49-F238E27FC236}">
                  <a16:creationId xmlns:a16="http://schemas.microsoft.com/office/drawing/2014/main" id="{E014AEED-69A4-4B58-AD5E-70FA814CA7D1}"/>
                </a:ext>
              </a:extLst>
            </p:cNvPr>
            <p:cNvSpPr/>
            <p:nvPr/>
          </p:nvSpPr>
          <p:spPr bwMode="auto">
            <a:xfrm>
              <a:off x="8931349" y="1457866"/>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31" name="Rectangle 30">
              <a:extLst>
                <a:ext uri="{FF2B5EF4-FFF2-40B4-BE49-F238E27FC236}">
                  <a16:creationId xmlns:a16="http://schemas.microsoft.com/office/drawing/2014/main" id="{912CA2F9-21A0-463F-B5A2-79A78017308A}"/>
                </a:ext>
              </a:extLst>
            </p:cNvPr>
            <p:cNvSpPr/>
            <p:nvPr/>
          </p:nvSpPr>
          <p:spPr bwMode="auto">
            <a:xfrm>
              <a:off x="10285777" y="2432523"/>
              <a:ext cx="622680"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Edge</a:t>
              </a:r>
            </a:p>
          </p:txBody>
        </p:sp>
        <p:sp>
          <p:nvSpPr>
            <p:cNvPr id="32" name="Cloud 31">
              <a:extLst>
                <a:ext uri="{FF2B5EF4-FFF2-40B4-BE49-F238E27FC236}">
                  <a16:creationId xmlns:a16="http://schemas.microsoft.com/office/drawing/2014/main" id="{085AE0E1-54C7-474B-9B22-1F582F467BBF}"/>
                </a:ext>
              </a:extLst>
            </p:cNvPr>
            <p:cNvSpPr/>
            <p:nvPr/>
          </p:nvSpPr>
          <p:spPr bwMode="auto">
            <a:xfrm>
              <a:off x="10653823" y="1523682"/>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33" name="Connector: Elbow 32">
              <a:extLst>
                <a:ext uri="{FF2B5EF4-FFF2-40B4-BE49-F238E27FC236}">
                  <a16:creationId xmlns:a16="http://schemas.microsoft.com/office/drawing/2014/main" id="{58BF5CEC-B0C6-438E-BD6B-582BEA3459EC}"/>
                </a:ext>
              </a:extLst>
            </p:cNvPr>
            <p:cNvCxnSpPr>
              <a:cxnSpLocks/>
              <a:stCxn id="31" idx="3"/>
              <a:endCxn id="32" idx="1"/>
            </p:cNvCxnSpPr>
            <p:nvPr/>
          </p:nvCxnSpPr>
          <p:spPr>
            <a:xfrm flipV="1">
              <a:off x="10908457" y="2437108"/>
              <a:ext cx="202566"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3D92143-1AE2-45E4-BA6B-CA9A2F6BD9A8}"/>
                </a:ext>
              </a:extLst>
            </p:cNvPr>
            <p:cNvCxnSpPr>
              <a:cxnSpLocks/>
              <a:stCxn id="37" idx="0"/>
              <a:endCxn id="31" idx="1"/>
            </p:cNvCxnSpPr>
            <p:nvPr/>
          </p:nvCxnSpPr>
          <p:spPr>
            <a:xfrm rot="5400000" flipH="1" flipV="1">
              <a:off x="10027427" y="2603769"/>
              <a:ext cx="222261" cy="29444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92182422-6408-4BB3-B532-6B6EDA8A253C}"/>
                </a:ext>
              </a:extLst>
            </p:cNvPr>
            <p:cNvCxnSpPr>
              <a:cxnSpLocks/>
            </p:cNvCxnSpPr>
            <p:nvPr/>
          </p:nvCxnSpPr>
          <p:spPr>
            <a:xfrm rot="5400000" flipH="1" flipV="1">
              <a:off x="9748247" y="2309325"/>
              <a:ext cx="222261" cy="883326"/>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43A308BB-AFC8-4808-AAB0-FEDB8AF04B85}"/>
                </a:ext>
              </a:extLst>
            </p:cNvPr>
            <p:cNvSpPr/>
            <p:nvPr/>
          </p:nvSpPr>
          <p:spPr bwMode="auto">
            <a:xfrm>
              <a:off x="9200158" y="2862119"/>
              <a:ext cx="404585" cy="39853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AI</a:t>
              </a:r>
            </a:p>
          </p:txBody>
        </p:sp>
        <p:sp>
          <p:nvSpPr>
            <p:cNvPr id="37" name="Rectangle: Rounded Corners 36">
              <a:extLst>
                <a:ext uri="{FF2B5EF4-FFF2-40B4-BE49-F238E27FC236}">
                  <a16:creationId xmlns:a16="http://schemas.microsoft.com/office/drawing/2014/main" id="{8E7FF92E-2D84-430E-AFFB-63148E509E45}"/>
                </a:ext>
              </a:extLst>
            </p:cNvPr>
            <p:cNvSpPr/>
            <p:nvPr/>
          </p:nvSpPr>
          <p:spPr bwMode="auto">
            <a:xfrm>
              <a:off x="9789044" y="2862119"/>
              <a:ext cx="404585" cy="39853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AI</a:t>
              </a:r>
            </a:p>
          </p:txBody>
        </p:sp>
        <p:pic>
          <p:nvPicPr>
            <p:cNvPr id="38" name="Graphic 37" descr="Web cam">
              <a:extLst>
                <a:ext uri="{FF2B5EF4-FFF2-40B4-BE49-F238E27FC236}">
                  <a16:creationId xmlns:a16="http://schemas.microsoft.com/office/drawing/2014/main" id="{D2A206E1-134E-4A37-A686-6C554FAB3C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75087" y="2738201"/>
              <a:ext cx="914400" cy="914400"/>
            </a:xfrm>
            <a:prstGeom prst="rect">
              <a:avLst/>
            </a:prstGeom>
          </p:spPr>
        </p:pic>
        <p:cxnSp>
          <p:nvCxnSpPr>
            <p:cNvPr id="39" name="Connector: Elbow 38">
              <a:extLst>
                <a:ext uri="{FF2B5EF4-FFF2-40B4-BE49-F238E27FC236}">
                  <a16:creationId xmlns:a16="http://schemas.microsoft.com/office/drawing/2014/main" id="{A8D65582-EE80-4ED4-B18C-5DBAD0682E60}"/>
                </a:ext>
              </a:extLst>
            </p:cNvPr>
            <p:cNvCxnSpPr>
              <a:cxnSpLocks/>
              <a:stCxn id="38" idx="1"/>
              <a:endCxn id="37" idx="2"/>
            </p:cNvCxnSpPr>
            <p:nvPr/>
          </p:nvCxnSpPr>
          <p:spPr>
            <a:xfrm rot="10800000" flipV="1">
              <a:off x="9991337" y="3195401"/>
              <a:ext cx="683750" cy="65250"/>
            </a:xfrm>
            <a:prstGeom prst="bentConnector4">
              <a:avLst>
                <a:gd name="adj1" fmla="val 35207"/>
                <a:gd name="adj2" fmla="val 41009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0EFDE773-EE57-45A8-9C95-D040FFD03F03}"/>
                </a:ext>
              </a:extLst>
            </p:cNvPr>
            <p:cNvCxnSpPr>
              <a:cxnSpLocks/>
              <a:stCxn id="38" idx="1"/>
              <a:endCxn id="36" idx="2"/>
            </p:cNvCxnSpPr>
            <p:nvPr/>
          </p:nvCxnSpPr>
          <p:spPr>
            <a:xfrm rot="10800000" flipV="1">
              <a:off x="9402451" y="3195401"/>
              <a:ext cx="1272636" cy="65250"/>
            </a:xfrm>
            <a:prstGeom prst="bentConnector4">
              <a:avLst>
                <a:gd name="adj1" fmla="val 19216"/>
                <a:gd name="adj2" fmla="val 410093"/>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8E8B677C-610C-4ECA-BC1E-CDAB91F7EE68}"/>
              </a:ext>
            </a:extLst>
          </p:cNvPr>
          <p:cNvGrpSpPr/>
          <p:nvPr/>
        </p:nvGrpSpPr>
        <p:grpSpPr>
          <a:xfrm>
            <a:off x="2791970" y="1494704"/>
            <a:ext cx="2187372" cy="1651358"/>
            <a:chOff x="4720855" y="4124144"/>
            <a:chExt cx="2863702" cy="2161954"/>
          </a:xfrm>
        </p:grpSpPr>
        <p:sp>
          <p:nvSpPr>
            <p:cNvPr id="51" name="Rectangle 50">
              <a:extLst>
                <a:ext uri="{FF2B5EF4-FFF2-40B4-BE49-F238E27FC236}">
                  <a16:creationId xmlns:a16="http://schemas.microsoft.com/office/drawing/2014/main" id="{9D68022F-343F-4919-A84F-A5EB4CE30C55}"/>
                </a:ext>
              </a:extLst>
            </p:cNvPr>
            <p:cNvSpPr/>
            <p:nvPr/>
          </p:nvSpPr>
          <p:spPr bwMode="auto">
            <a:xfrm>
              <a:off x="4720855" y="4124144"/>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52" name="Rectangle 51">
              <a:extLst>
                <a:ext uri="{FF2B5EF4-FFF2-40B4-BE49-F238E27FC236}">
                  <a16:creationId xmlns:a16="http://schemas.microsoft.com/office/drawing/2014/main" id="{B51D7930-1B82-41F4-B233-909ADEC4E75F}"/>
                </a:ext>
              </a:extLst>
            </p:cNvPr>
            <p:cNvSpPr/>
            <p:nvPr/>
          </p:nvSpPr>
          <p:spPr bwMode="auto">
            <a:xfrm>
              <a:off x="6152706" y="5098801"/>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FG</a:t>
              </a:r>
            </a:p>
          </p:txBody>
        </p:sp>
        <p:sp>
          <p:nvSpPr>
            <p:cNvPr id="53" name="Cloud 52">
              <a:extLst>
                <a:ext uri="{FF2B5EF4-FFF2-40B4-BE49-F238E27FC236}">
                  <a16:creationId xmlns:a16="http://schemas.microsoft.com/office/drawing/2014/main" id="{BDEF7196-DFBE-425C-8961-3E0C7E06F771}"/>
                </a:ext>
              </a:extLst>
            </p:cNvPr>
            <p:cNvSpPr/>
            <p:nvPr/>
          </p:nvSpPr>
          <p:spPr bwMode="auto">
            <a:xfrm>
              <a:off x="6443329" y="4189960"/>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54" name="Connector: Elbow 53">
              <a:extLst>
                <a:ext uri="{FF2B5EF4-FFF2-40B4-BE49-F238E27FC236}">
                  <a16:creationId xmlns:a16="http://schemas.microsoft.com/office/drawing/2014/main" id="{60BE4C26-4B01-41F3-9267-CC433080286C}"/>
                </a:ext>
              </a:extLst>
            </p:cNvPr>
            <p:cNvCxnSpPr>
              <a:cxnSpLocks/>
              <a:stCxn id="52" idx="3"/>
              <a:endCxn id="53" idx="1"/>
            </p:cNvCxnSpPr>
            <p:nvPr/>
          </p:nvCxnSpPr>
          <p:spPr>
            <a:xfrm flipV="1">
              <a:off x="6620539" y="5103386"/>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6FA91F90-0973-4316-A988-E9AF64F8464F}"/>
                </a:ext>
              </a:extLst>
            </p:cNvPr>
            <p:cNvCxnSpPr>
              <a:cxnSpLocks/>
              <a:stCxn id="59" idx="0"/>
              <a:endCxn id="52" idx="1"/>
            </p:cNvCxnSpPr>
            <p:nvPr/>
          </p:nvCxnSpPr>
          <p:spPr>
            <a:xfrm rot="5400000" flipH="1" flipV="1">
              <a:off x="5605009" y="5215150"/>
              <a:ext cx="456711" cy="638684"/>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EF0B076B-65DD-480F-9195-B8D2CAD81D3A}"/>
                </a:ext>
              </a:extLst>
            </p:cNvPr>
            <p:cNvCxnSpPr>
              <a:cxnSpLocks/>
              <a:stCxn id="58" idx="0"/>
              <a:endCxn id="52" idx="1"/>
            </p:cNvCxnSpPr>
            <p:nvPr/>
          </p:nvCxnSpPr>
          <p:spPr>
            <a:xfrm rot="5400000" flipH="1" flipV="1">
              <a:off x="5490597" y="4851363"/>
              <a:ext cx="207335" cy="1116883"/>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7" name="Graphic 56">
              <a:extLst>
                <a:ext uri="{FF2B5EF4-FFF2-40B4-BE49-F238E27FC236}">
                  <a16:creationId xmlns:a16="http://schemas.microsoft.com/office/drawing/2014/main" id="{BFF88C93-DE18-4DD1-80D8-243CE219E83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52328" y="4717576"/>
              <a:ext cx="361270" cy="361270"/>
            </a:xfrm>
            <a:prstGeom prst="rect">
              <a:avLst/>
            </a:prstGeom>
          </p:spPr>
        </p:pic>
        <p:pic>
          <p:nvPicPr>
            <p:cNvPr id="58" name="Graphic 57">
              <a:extLst>
                <a:ext uri="{FF2B5EF4-FFF2-40B4-BE49-F238E27FC236}">
                  <a16:creationId xmlns:a16="http://schemas.microsoft.com/office/drawing/2014/main" id="{10F9BA19-0CDB-4964-8A05-F6B546B58A3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55188" y="5513471"/>
              <a:ext cx="361270" cy="361270"/>
            </a:xfrm>
            <a:prstGeom prst="rect">
              <a:avLst/>
            </a:prstGeom>
          </p:spPr>
        </p:pic>
        <p:pic>
          <p:nvPicPr>
            <p:cNvPr id="59" name="Graphic 58">
              <a:extLst>
                <a:ext uri="{FF2B5EF4-FFF2-40B4-BE49-F238E27FC236}">
                  <a16:creationId xmlns:a16="http://schemas.microsoft.com/office/drawing/2014/main" id="{A7A0F9E2-E886-4060-81AD-1A5FADA1775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33387" y="5762847"/>
              <a:ext cx="361270" cy="361270"/>
            </a:xfrm>
            <a:prstGeom prst="rect">
              <a:avLst/>
            </a:prstGeom>
          </p:spPr>
        </p:pic>
        <p:cxnSp>
          <p:nvCxnSpPr>
            <p:cNvPr id="60" name="Connector: Elbow 59">
              <a:extLst>
                <a:ext uri="{FF2B5EF4-FFF2-40B4-BE49-F238E27FC236}">
                  <a16:creationId xmlns:a16="http://schemas.microsoft.com/office/drawing/2014/main" id="{FB2AD2EB-9751-4898-86C7-A730C80EDA8E}"/>
                </a:ext>
              </a:extLst>
            </p:cNvPr>
            <p:cNvCxnSpPr>
              <a:cxnSpLocks/>
              <a:stCxn id="57" idx="2"/>
              <a:endCxn id="52" idx="1"/>
            </p:cNvCxnSpPr>
            <p:nvPr/>
          </p:nvCxnSpPr>
          <p:spPr>
            <a:xfrm rot="16200000" flipH="1">
              <a:off x="5479189" y="4632619"/>
              <a:ext cx="227290" cy="1119743"/>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91D620D4-41E0-4F4F-9520-0F4C49F72C18}"/>
              </a:ext>
            </a:extLst>
          </p:cNvPr>
          <p:cNvGrpSpPr/>
          <p:nvPr/>
        </p:nvGrpSpPr>
        <p:grpSpPr>
          <a:xfrm>
            <a:off x="475112" y="1463516"/>
            <a:ext cx="2187372" cy="1651358"/>
            <a:chOff x="931447" y="3973619"/>
            <a:chExt cx="2863702" cy="2161954"/>
          </a:xfrm>
        </p:grpSpPr>
        <p:pic>
          <p:nvPicPr>
            <p:cNvPr id="62" name="Graphic 61" descr="Streetlight">
              <a:extLst>
                <a:ext uri="{FF2B5EF4-FFF2-40B4-BE49-F238E27FC236}">
                  <a16:creationId xmlns:a16="http://schemas.microsoft.com/office/drawing/2014/main" id="{AD95DA7B-F02E-431C-A018-F1F83C1B05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8522" y="4848448"/>
              <a:ext cx="914400" cy="914400"/>
            </a:xfrm>
            <a:prstGeom prst="rect">
              <a:avLst/>
            </a:prstGeom>
          </p:spPr>
        </p:pic>
        <p:sp>
          <p:nvSpPr>
            <p:cNvPr id="63" name="Rectangle 62">
              <a:extLst>
                <a:ext uri="{FF2B5EF4-FFF2-40B4-BE49-F238E27FC236}">
                  <a16:creationId xmlns:a16="http://schemas.microsoft.com/office/drawing/2014/main" id="{D81C5B48-8314-407C-9191-EB0B7F606FF2}"/>
                </a:ext>
              </a:extLst>
            </p:cNvPr>
            <p:cNvSpPr/>
            <p:nvPr/>
          </p:nvSpPr>
          <p:spPr bwMode="auto">
            <a:xfrm>
              <a:off x="931447" y="3973619"/>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64" name="Cloud 63">
              <a:extLst>
                <a:ext uri="{FF2B5EF4-FFF2-40B4-BE49-F238E27FC236}">
                  <a16:creationId xmlns:a16="http://schemas.microsoft.com/office/drawing/2014/main" id="{71A91454-6E8D-4A50-85C1-34A78BC7B5E4}"/>
                </a:ext>
              </a:extLst>
            </p:cNvPr>
            <p:cNvSpPr/>
            <p:nvPr/>
          </p:nvSpPr>
          <p:spPr bwMode="auto">
            <a:xfrm>
              <a:off x="2526333" y="3996907"/>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65" name="Connector: Elbow 64">
              <a:extLst>
                <a:ext uri="{FF2B5EF4-FFF2-40B4-BE49-F238E27FC236}">
                  <a16:creationId xmlns:a16="http://schemas.microsoft.com/office/drawing/2014/main" id="{5885EE4B-904B-403B-8590-45C08D19867F}"/>
                </a:ext>
              </a:extLst>
            </p:cNvPr>
            <p:cNvCxnSpPr>
              <a:cxnSpLocks/>
              <a:stCxn id="66" idx="0"/>
              <a:endCxn id="64" idx="2"/>
            </p:cNvCxnSpPr>
            <p:nvPr/>
          </p:nvCxnSpPr>
          <p:spPr>
            <a:xfrm rot="5400000" flipH="1" flipV="1">
              <a:off x="1919631" y="4603609"/>
              <a:ext cx="759040" cy="460036"/>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Streetlight">
              <a:extLst>
                <a:ext uri="{FF2B5EF4-FFF2-40B4-BE49-F238E27FC236}">
                  <a16:creationId xmlns:a16="http://schemas.microsoft.com/office/drawing/2014/main" id="{C081D625-72E4-4053-817D-29535A14F48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11933" y="5213147"/>
              <a:ext cx="914400" cy="914400"/>
            </a:xfrm>
            <a:prstGeom prst="rect">
              <a:avLst/>
            </a:prstGeom>
          </p:spPr>
        </p:pic>
        <p:pic>
          <p:nvPicPr>
            <p:cNvPr id="67" name="Graphic 66" descr="Streetlight">
              <a:extLst>
                <a:ext uri="{FF2B5EF4-FFF2-40B4-BE49-F238E27FC236}">
                  <a16:creationId xmlns:a16="http://schemas.microsoft.com/office/drawing/2014/main" id="{65703FAC-5934-4527-942F-A2957C9AB9A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26333" y="5205121"/>
              <a:ext cx="914400" cy="914400"/>
            </a:xfrm>
            <a:prstGeom prst="rect">
              <a:avLst/>
            </a:prstGeom>
          </p:spPr>
        </p:pic>
        <p:cxnSp>
          <p:nvCxnSpPr>
            <p:cNvPr id="68" name="Connector: Elbow 67">
              <a:extLst>
                <a:ext uri="{FF2B5EF4-FFF2-40B4-BE49-F238E27FC236}">
                  <a16:creationId xmlns:a16="http://schemas.microsoft.com/office/drawing/2014/main" id="{15AF51AA-5937-4D79-8937-F8A8F3A09196}"/>
                </a:ext>
              </a:extLst>
            </p:cNvPr>
            <p:cNvCxnSpPr>
              <a:cxnSpLocks/>
              <a:stCxn id="62" idx="0"/>
              <a:endCxn id="64" idx="2"/>
            </p:cNvCxnSpPr>
            <p:nvPr/>
          </p:nvCxnSpPr>
          <p:spPr>
            <a:xfrm rot="5400000" flipH="1" flipV="1">
              <a:off x="1820275" y="4139555"/>
              <a:ext cx="394340" cy="1023447"/>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829152B-47FF-4F77-93E7-A91D5949A0AD}"/>
                </a:ext>
              </a:extLst>
            </p:cNvPr>
            <p:cNvCxnSpPr>
              <a:cxnSpLocks/>
              <a:stCxn id="67" idx="0"/>
              <a:endCxn id="64" idx="0"/>
            </p:cNvCxnSpPr>
            <p:nvPr/>
          </p:nvCxnSpPr>
          <p:spPr>
            <a:xfrm rot="5400000" flipH="1" flipV="1">
              <a:off x="2836245" y="4601395"/>
              <a:ext cx="751014" cy="456438"/>
            </a:xfrm>
            <a:prstGeom prst="bentConnector4">
              <a:avLst>
                <a:gd name="adj1" fmla="val 19561"/>
                <a:gd name="adj2" fmla="val 150083"/>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C3EF7F9D-82AD-4F9A-A5A6-53A1815357AA}"/>
              </a:ext>
            </a:extLst>
          </p:cNvPr>
          <p:cNvSpPr txBox="1"/>
          <p:nvPr/>
        </p:nvSpPr>
        <p:spPr>
          <a:xfrm>
            <a:off x="1175869" y="2674320"/>
            <a:ext cx="722725" cy="461600"/>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200">
                <a:solidFill>
                  <a:srgbClr val="505050">
                    <a:lumMod val="50000"/>
                  </a:srgbClr>
                </a:solidFill>
                <a:latin typeface="Segoe UI"/>
              </a:rPr>
              <a:t>WAN</a:t>
            </a:r>
          </a:p>
        </p:txBody>
      </p:sp>
      <p:sp>
        <p:nvSpPr>
          <p:cNvPr id="74" name="TextBox 73">
            <a:extLst>
              <a:ext uri="{FF2B5EF4-FFF2-40B4-BE49-F238E27FC236}">
                <a16:creationId xmlns:a16="http://schemas.microsoft.com/office/drawing/2014/main" id="{EE3B24EC-7D7A-44F0-BBE1-76107E328878}"/>
              </a:ext>
            </a:extLst>
          </p:cNvPr>
          <p:cNvSpPr txBox="1"/>
          <p:nvPr/>
        </p:nvSpPr>
        <p:spPr>
          <a:xfrm>
            <a:off x="5743922" y="2442972"/>
            <a:ext cx="1000325"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On-prem</a:t>
            </a:r>
          </a:p>
          <a:p>
            <a:pPr defTabSz="914225">
              <a:lnSpc>
                <a:spcPct val="90000"/>
              </a:lnSpc>
              <a:spcAft>
                <a:spcPts val="600"/>
              </a:spcAft>
            </a:pPr>
            <a:r>
              <a:rPr lang="en-US" sz="1200">
                <a:solidFill>
                  <a:srgbClr val="505050">
                    <a:lumMod val="50000"/>
                  </a:srgbClr>
                </a:solidFill>
                <a:latin typeface="Segoe UI"/>
              </a:rPr>
              <a:t>network</a:t>
            </a:r>
          </a:p>
        </p:txBody>
      </p:sp>
      <p:sp>
        <p:nvSpPr>
          <p:cNvPr id="75" name="TextBox 74">
            <a:extLst>
              <a:ext uri="{FF2B5EF4-FFF2-40B4-BE49-F238E27FC236}">
                <a16:creationId xmlns:a16="http://schemas.microsoft.com/office/drawing/2014/main" id="{CF35D078-EA0D-40C3-8660-1454D1F0755A}"/>
              </a:ext>
            </a:extLst>
          </p:cNvPr>
          <p:cNvSpPr txBox="1"/>
          <p:nvPr/>
        </p:nvSpPr>
        <p:spPr>
          <a:xfrm>
            <a:off x="3493660" y="2437778"/>
            <a:ext cx="1520009"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Batching &amp;</a:t>
            </a:r>
          </a:p>
          <a:p>
            <a:pPr defTabSz="914225">
              <a:lnSpc>
                <a:spcPct val="90000"/>
              </a:lnSpc>
              <a:spcAft>
                <a:spcPts val="600"/>
              </a:spcAft>
            </a:pPr>
            <a:r>
              <a:rPr lang="en-US" sz="1200">
                <a:solidFill>
                  <a:srgbClr val="505050">
                    <a:lumMod val="50000"/>
                  </a:srgbClr>
                </a:solidFill>
                <a:latin typeface="Segoe UI"/>
              </a:rPr>
              <a:t>Proto translation</a:t>
            </a:r>
          </a:p>
        </p:txBody>
      </p:sp>
      <p:sp>
        <p:nvSpPr>
          <p:cNvPr id="76" name="TextBox 75">
            <a:extLst>
              <a:ext uri="{FF2B5EF4-FFF2-40B4-BE49-F238E27FC236}">
                <a16:creationId xmlns:a16="http://schemas.microsoft.com/office/drawing/2014/main" id="{CC155465-D563-4CC8-B9AE-3A888F2B8CF9}"/>
              </a:ext>
            </a:extLst>
          </p:cNvPr>
          <p:cNvSpPr txBox="1"/>
          <p:nvPr/>
        </p:nvSpPr>
        <p:spPr>
          <a:xfrm>
            <a:off x="2742997" y="1641702"/>
            <a:ext cx="965512" cy="464933"/>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BLE/NFC</a:t>
            </a:r>
          </a:p>
        </p:txBody>
      </p:sp>
      <p:sp>
        <p:nvSpPr>
          <p:cNvPr id="77" name="TextBox 76">
            <a:extLst>
              <a:ext uri="{FF2B5EF4-FFF2-40B4-BE49-F238E27FC236}">
                <a16:creationId xmlns:a16="http://schemas.microsoft.com/office/drawing/2014/main" id="{63D99ECD-67BF-43DC-A30C-BFC825CD405A}"/>
              </a:ext>
            </a:extLst>
          </p:cNvPr>
          <p:cNvSpPr txBox="1"/>
          <p:nvPr/>
        </p:nvSpPr>
        <p:spPr>
          <a:xfrm>
            <a:off x="8292504" y="2477265"/>
            <a:ext cx="1101749"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Protocol</a:t>
            </a:r>
          </a:p>
          <a:p>
            <a:pPr defTabSz="914225">
              <a:lnSpc>
                <a:spcPct val="90000"/>
              </a:lnSpc>
              <a:spcAft>
                <a:spcPts val="600"/>
              </a:spcAft>
            </a:pPr>
            <a:r>
              <a:rPr lang="en-US" sz="1200">
                <a:solidFill>
                  <a:srgbClr val="505050">
                    <a:lumMod val="50000"/>
                  </a:srgbClr>
                </a:solidFill>
                <a:latin typeface="Segoe UI"/>
              </a:rPr>
              <a:t>translation</a:t>
            </a:r>
          </a:p>
        </p:txBody>
      </p:sp>
      <p:sp>
        <p:nvSpPr>
          <p:cNvPr id="2" name="Rectangle 1">
            <a:extLst>
              <a:ext uri="{FF2B5EF4-FFF2-40B4-BE49-F238E27FC236}">
                <a16:creationId xmlns:a16="http://schemas.microsoft.com/office/drawing/2014/main" id="{BF8FE106-C59C-4B40-B903-0B9A4D87A2DB}"/>
              </a:ext>
            </a:extLst>
          </p:cNvPr>
          <p:cNvSpPr/>
          <p:nvPr/>
        </p:nvSpPr>
        <p:spPr bwMode="auto">
          <a:xfrm>
            <a:off x="9447286" y="1189496"/>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AA4536CD-0151-492A-8AFE-E209B8B5F73E}"/>
              </a:ext>
            </a:extLst>
          </p:cNvPr>
          <p:cNvSpPr/>
          <p:nvPr/>
        </p:nvSpPr>
        <p:spPr bwMode="auto">
          <a:xfrm>
            <a:off x="7190509" y="1189495"/>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423A0878-52E2-4769-B736-4AA153F80697}"/>
              </a:ext>
            </a:extLst>
          </p:cNvPr>
          <p:cNvSpPr/>
          <p:nvPr/>
        </p:nvSpPr>
        <p:spPr bwMode="auto">
          <a:xfrm>
            <a:off x="4982109" y="1189495"/>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9B3DE676-A406-4E65-BBA5-390BE6337F76}"/>
              </a:ext>
            </a:extLst>
          </p:cNvPr>
          <p:cNvSpPr/>
          <p:nvPr/>
        </p:nvSpPr>
        <p:spPr bwMode="auto">
          <a:xfrm>
            <a:off x="2757028" y="1189494"/>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81" name="TextBox 80">
            <a:extLst>
              <a:ext uri="{FF2B5EF4-FFF2-40B4-BE49-F238E27FC236}">
                <a16:creationId xmlns:a16="http://schemas.microsoft.com/office/drawing/2014/main" id="{86DBB7D2-699A-4D88-B1C6-0090A539885D}"/>
              </a:ext>
            </a:extLst>
          </p:cNvPr>
          <p:cNvSpPr txBox="1"/>
          <p:nvPr/>
        </p:nvSpPr>
        <p:spPr>
          <a:xfrm>
            <a:off x="360259" y="438327"/>
            <a:ext cx="6094206" cy="461665"/>
          </a:xfrm>
          <a:prstGeom prst="rect">
            <a:avLst/>
          </a:prstGeom>
          <a:noFill/>
        </p:spPr>
        <p:txBody>
          <a:bodyPr wrap="square">
            <a:spAutoFit/>
          </a:bodyPr>
          <a:lstStyle/>
          <a:p>
            <a:r>
              <a:rPr lang="en-US" sz="2400" dirty="0">
                <a:solidFill>
                  <a:schemeClr val="bg1">
                    <a:lumMod val="50000"/>
                  </a:schemeClr>
                </a:solidFill>
                <a:latin typeface="Segoe UI Semibold (Headings)"/>
              </a:rPr>
              <a:t>IoT Hub Connectivity Models</a:t>
            </a:r>
          </a:p>
        </p:txBody>
      </p:sp>
    </p:spTree>
    <p:extLst>
      <p:ext uri="{BB962C8B-B14F-4D97-AF65-F5344CB8AC3E}">
        <p14:creationId xmlns:p14="http://schemas.microsoft.com/office/powerpoint/2010/main" val="3755220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2"/>
                                        </p:tgtEl>
                                      </p:cBhvr>
                                    </p:animEffect>
                                    <p:set>
                                      <p:cBhvr>
                                        <p:cTn id="7" dur="1" fill="hold">
                                          <p:stCondLst>
                                            <p:cond delay="499"/>
                                          </p:stCondLst>
                                        </p:cTn>
                                        <p:tgtEl>
                                          <p:spTgt spid="7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71"/>
                                        </p:tgtEl>
                                      </p:cBhvr>
                                    </p:animEffect>
                                    <p:set>
                                      <p:cBhvr>
                                        <p:cTn id="12" dur="1" fill="hold">
                                          <p:stCondLst>
                                            <p:cond delay="499"/>
                                          </p:stCondLst>
                                        </p:cTn>
                                        <p:tgtEl>
                                          <p:spTgt spid="71"/>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70"/>
                                        </p:tgtEl>
                                      </p:cBhvr>
                                    </p:animEffect>
                                    <p:set>
                                      <p:cBhvr>
                                        <p:cTn id="17" dur="1" fill="hold">
                                          <p:stCondLst>
                                            <p:cond delay="499"/>
                                          </p:stCondLst>
                                        </p:cTn>
                                        <p:tgtEl>
                                          <p:spTgt spid="70"/>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2"/>
                                        </p:tgtEl>
                                      </p:cBhvr>
                                    </p:animEffect>
                                    <p:set>
                                      <p:cBhvr>
                                        <p:cTn id="22"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1" grpId="0" animBg="1"/>
      <p:bldP spid="7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TR18_BO_CT_Template_16x9">
  <a:themeElements>
    <a:clrScheme name="TR17-Blue">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2.xml><?xml version="1.0" encoding="utf-8"?>
<a:theme xmlns:a="http://schemas.openxmlformats.org/drawingml/2006/main" name="2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5.xml><?xml version="1.0" encoding="utf-8"?>
<a:theme xmlns:a="http://schemas.openxmlformats.org/drawingml/2006/main" name="1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7.xml><?xml version="1.0" encoding="utf-8"?>
<a:theme xmlns:a="http://schemas.openxmlformats.org/drawingml/2006/main" name="2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8.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9.xml><?xml version="1.0" encoding="utf-8"?>
<a:theme xmlns:a="http://schemas.openxmlformats.org/drawingml/2006/main" name="4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275E48DB-F7F1-47EF-AD59-BC93EEF78B96}"/>
    </a:ext>
  </a:extLst>
</a:theme>
</file>

<file path=ppt/theme/theme20.xml><?xml version="1.0" encoding="utf-8"?>
<a:theme xmlns:a="http://schemas.openxmlformats.org/drawingml/2006/main" name="5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oT Summit">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16_9_Microsoft_Azure.pptx" id="{CB2F00D6-8B2E-48B4-BBEB-A9DFE81F43FF}" vid="{D4AA22CE-2EB6-4D58-AC1F-AD8246D21621}"/>
    </a:ext>
  </a:extLst>
</a:theme>
</file>

<file path=ppt/theme/theme4.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Microsoft_Learn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1" id="{A2B4404C-4C97-6145-A86B-A85F76804F3E}" vid="{84A7CE14-D1D3-344C-A42F-A4FA3DE071E1}"/>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1.Grey">
  <a:themeElements>
    <a:clrScheme name="MSFT Learn 1">
      <a:dk1>
        <a:srgbClr val="50E6FF"/>
      </a:dk1>
      <a:lt1>
        <a:srgbClr val="FFFFFF"/>
      </a:lt1>
      <a:dk2>
        <a:srgbClr val="243A5E"/>
      </a:dk2>
      <a:lt2>
        <a:srgbClr val="FFFFFF"/>
      </a:lt2>
      <a:accent1>
        <a:srgbClr val="243A5E"/>
      </a:accent1>
      <a:accent2>
        <a:srgbClr val="3B2E58"/>
      </a:accent2>
      <a:accent3>
        <a:srgbClr val="054B16"/>
      </a:accent3>
      <a:accent4>
        <a:srgbClr val="274B47"/>
      </a:accent4>
      <a:accent5>
        <a:srgbClr val="6B2828"/>
      </a:accent5>
      <a:accent6>
        <a:srgbClr val="008575"/>
      </a:accent6>
      <a:hlink>
        <a:srgbClr val="0078D3"/>
      </a:hlink>
      <a:folHlink>
        <a:srgbClr val="50E6FF"/>
      </a:folHlink>
    </a:clrScheme>
    <a:fontScheme name="White">
      <a:majorFont>
        <a:latin typeface="Segoe UI Semibold"/>
        <a:ea typeface="Segoe UI Semibold"/>
        <a:cs typeface="Segoe UI Semibold"/>
      </a:majorFont>
      <a:minorFont>
        <a:latin typeface="Segoe UI Semibold"/>
        <a:ea typeface="Segoe UI Semibold"/>
        <a:cs typeface="Segoe UI Semi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70000"/>
          </a:lnSpc>
          <a:spcBef>
            <a:spcPts val="0"/>
          </a:spcBef>
          <a:spcAft>
            <a:spcPts val="0"/>
          </a:spcAft>
          <a:buClrTx/>
          <a:buSzTx/>
          <a:buFontTx/>
          <a:buNone/>
          <a:tabLst/>
          <a:defRPr kumimoji="0" sz="11200" b="0" i="0" u="none" strike="noStrike" cap="none" spc="-224" normalizeH="0" baseline="0">
            <a:ln>
              <a:noFill/>
            </a:ln>
            <a:solidFill>
              <a:srgbClr val="FFFFFF"/>
            </a:solidFill>
            <a:effectLst/>
            <a:uFillTx/>
            <a:latin typeface="+mn-lt"/>
            <a:ea typeface="+mn-ea"/>
            <a:cs typeface="+mn-cs"/>
            <a:sym typeface="Segoe UI Semi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 Ignite" id="{69F892DB-77B0-A34A-A732-FD97D4E2F53D}" vid="{8197B14A-AA05-9847-A67E-6E1078E0F403}"/>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446482e-8c04-4f10-91f4-5d651528d8f6">
      <UserInfo>
        <DisplayName>Jessica Harbin (BRIDGE PARTNERS LLC)</DisplayName>
        <AccountId>80</AccountId>
        <AccountType/>
      </UserInfo>
    </SharedWithUsers>
    <MediaServiceKeyPoints xmlns="32920a28-a2a2-424f-9212-a42fc62de534"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1C5440DF00361458231CD93B84B4EBD" ma:contentTypeVersion="15" ma:contentTypeDescription="Create a new document." ma:contentTypeScope="" ma:versionID="76dcc76f583e995c2b707a9627c01dd3">
  <xsd:schema xmlns:xsd="http://www.w3.org/2001/XMLSchema" xmlns:xs="http://www.w3.org/2001/XMLSchema" xmlns:p="http://schemas.microsoft.com/office/2006/metadata/properties" xmlns:ns1="http://schemas.microsoft.com/sharepoint/v3" xmlns:ns2="32920a28-a2a2-424f-9212-a42fc62de534" xmlns:ns3="a446482e-8c04-4f10-91f4-5d651528d8f6" targetNamespace="http://schemas.microsoft.com/office/2006/metadata/properties" ma:root="true" ma:fieldsID="d20c7831cf78a95559e0d8abe898fc27" ns1:_="" ns2:_="" ns3:_="">
    <xsd:import namespace="http://schemas.microsoft.com/sharepoint/v3"/>
    <xsd:import namespace="32920a28-a2a2-424f-9212-a42fc62de534"/>
    <xsd:import namespace="a446482e-8c04-4f10-91f4-5d651528d8f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AutoTags" minOccurs="0"/>
                <xsd:element ref="ns2:MediaServiceEventHashCode" minOccurs="0"/>
                <xsd:element ref="ns2:MediaServiceGenerationTime"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920a28-a2a2-424f-9212-a42fc62de53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fals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46482e-8c04-4f10-91f4-5d651528d8f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6FA06D-DA79-41E3-989C-44B8E143E50E}">
  <ds:schemaRefs>
    <ds:schemaRef ds:uri="c01e68ff-ba35-4d49-95e5-a716800ab2f9"/>
    <ds:schemaRef ds:uri="d33f47d4-3353-4c47-93a7-37f1bba64d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c7c6d36-a165-4e76-ab0d-29282b64d3c9"/>
  </ds:schemaRefs>
</ds:datastoreItem>
</file>

<file path=customXml/itemProps2.xml><?xml version="1.0" encoding="utf-8"?>
<ds:datastoreItem xmlns:ds="http://schemas.openxmlformats.org/officeDocument/2006/customXml" ds:itemID="{D33158D9-87A7-4EDD-A5FF-F19D04665731}">
  <ds:schemaRefs>
    <ds:schemaRef ds:uri="http://schemas.microsoft.com/sharepoint/v3/contenttype/forms"/>
  </ds:schemaRefs>
</ds:datastoreItem>
</file>

<file path=customXml/itemProps3.xml><?xml version="1.0" encoding="utf-8"?>
<ds:datastoreItem xmlns:ds="http://schemas.openxmlformats.org/officeDocument/2006/customXml" ds:itemID="{F3C4A391-C301-42F2-82BA-B28AFF8EDFB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178</TotalTime>
  <Words>7263</Words>
  <Application>Microsoft Office PowerPoint</Application>
  <PresentationFormat>Widescreen</PresentationFormat>
  <Paragraphs>939</Paragraphs>
  <Slides>30</Slides>
  <Notes>30</Notes>
  <HiddenSlides>0</HiddenSlides>
  <MMClips>0</MMClips>
  <ScaleCrop>false</ScaleCrop>
  <HeadingPairs>
    <vt:vector size="8" baseType="variant">
      <vt:variant>
        <vt:lpstr>Fonts Used</vt:lpstr>
      </vt:variant>
      <vt:variant>
        <vt:i4>17</vt:i4>
      </vt:variant>
      <vt:variant>
        <vt:lpstr>Theme</vt:lpstr>
      </vt:variant>
      <vt:variant>
        <vt:i4>20</vt:i4>
      </vt:variant>
      <vt:variant>
        <vt:lpstr>Embedded OLE Servers</vt:lpstr>
      </vt:variant>
      <vt:variant>
        <vt:i4>1</vt:i4>
      </vt:variant>
      <vt:variant>
        <vt:lpstr>Slide Titles</vt:lpstr>
      </vt:variant>
      <vt:variant>
        <vt:i4>30</vt:i4>
      </vt:variant>
    </vt:vector>
  </HeadingPairs>
  <TitlesOfParts>
    <vt:vector size="68" baseType="lpstr">
      <vt:lpstr>Arial</vt:lpstr>
      <vt:lpstr>Barlow</vt:lpstr>
      <vt:lpstr>Calibri</vt:lpstr>
      <vt:lpstr>Calibri Light</vt:lpstr>
      <vt:lpstr>Consolas</vt:lpstr>
      <vt:lpstr>Courier New</vt:lpstr>
      <vt:lpstr>Segoe Semibold</vt:lpstr>
      <vt:lpstr>Segoe UI</vt:lpstr>
      <vt:lpstr>Segoe UI (Body)</vt:lpstr>
      <vt:lpstr>Segoe UI Light</vt:lpstr>
      <vt:lpstr>Segoe UI Semibold</vt:lpstr>
      <vt:lpstr>Segoe UI Semibold (Headings)</vt:lpstr>
      <vt:lpstr>Segoe UI Semilight</vt:lpstr>
      <vt:lpstr>Symbol</vt:lpstr>
      <vt:lpstr>Times</vt:lpstr>
      <vt:lpstr>Times New Roman</vt:lpstr>
      <vt:lpstr>Wingdings</vt:lpstr>
      <vt:lpstr>Azure 1 template</vt:lpstr>
      <vt:lpstr>Black Template</vt:lpstr>
      <vt:lpstr>IoT Summit</vt:lpstr>
      <vt:lpstr>1_Black Template</vt:lpstr>
      <vt:lpstr>1_Azure 1</vt:lpstr>
      <vt:lpstr>Microsoft_Learn_White_Template</vt:lpstr>
      <vt:lpstr>2_Black Template</vt:lpstr>
      <vt:lpstr>1.Grey</vt:lpstr>
      <vt:lpstr>Azure 1</vt:lpstr>
      <vt:lpstr>TR18_BO_CT_Template_16x9</vt:lpstr>
      <vt:lpstr>5-50203_Microsoft_Ignite_Template</vt:lpstr>
      <vt:lpstr>2_Azure 1</vt:lpstr>
      <vt:lpstr>2_Office Theme</vt:lpstr>
      <vt:lpstr>3_Azure 1</vt:lpstr>
      <vt:lpstr>1_WHITE TEMPLATE</vt:lpstr>
      <vt:lpstr>9-51120_Microsoft_Ready_Template_Light</vt:lpstr>
      <vt:lpstr>2_WHITE TEMPLATE</vt:lpstr>
      <vt:lpstr>1_9-51120_Microsoft_Ready_Template_Light</vt:lpstr>
      <vt:lpstr>4_Azure 1</vt:lpstr>
      <vt:lpstr>5_Azure 1</vt:lpstr>
      <vt:lpstr>think-cell Slide</vt:lpstr>
      <vt:lpstr>PowerPoint Presentation</vt:lpstr>
      <vt:lpstr>Build end to end IoT Solutions</vt:lpstr>
      <vt:lpstr>Agenda</vt:lpstr>
      <vt:lpstr>Microsoft’s comprehensive IoT product portfolio</vt:lpstr>
      <vt:lpstr>Develop with choice</vt:lpstr>
      <vt:lpstr>PowerPoint Presentation</vt:lpstr>
      <vt:lpstr>Your options for building IoT solutions</vt:lpstr>
      <vt:lpstr>IoT Solution Architecture</vt:lpstr>
      <vt:lpstr>PowerPoint Presentation</vt:lpstr>
      <vt:lpstr>Communication protocols</vt:lpstr>
      <vt:lpstr>PowerPoint Presentation</vt:lpstr>
      <vt:lpstr>Our story for Embedded</vt:lpstr>
      <vt:lpstr>IoT Data: Azure IoT Smart Factory Architecture Scenario</vt:lpstr>
      <vt:lpstr>Azure IoT Hub Message</vt:lpstr>
      <vt:lpstr>Device Twin</vt:lpstr>
      <vt:lpstr>Cloud-to-device communications</vt:lpstr>
      <vt:lpstr>Azure IoT Hub Messaging Routing and Partitioning</vt:lpstr>
      <vt:lpstr>IoT Hub Message Routing and Message Enrichments</vt:lpstr>
      <vt:lpstr>Serverless Integration</vt:lpstr>
      <vt:lpstr>NEW: Device Update  for IoT Hub</vt:lpstr>
      <vt:lpstr>Device Update for IoT Hub Robust features  for every IoT ecosystem</vt:lpstr>
      <vt:lpstr>How Device Update for IoT Hub  works in the real world</vt:lpstr>
      <vt:lpstr>Simplifying IoT with developer tools</vt:lpstr>
      <vt:lpstr>PowerPoint Presentation</vt:lpstr>
      <vt:lpstr>Resources</vt:lpstr>
      <vt:lpstr>Azure RTOS – Connecting devices to the cloud</vt:lpstr>
      <vt:lpstr>http://aka.ms/EmbeddedDevResearch</vt:lpstr>
      <vt:lpstr>PowerPoint Presentation</vt:lpstr>
      <vt:lpstr>PowerPoint Presentation</vt:lpstr>
      <vt:lpstr>Live Q&amp;A  Thank you!  IoT Arch Reference: https://aka.ms/iotrefarchitecture Azure Account Signup: https://aka.ms/get-started-azure-2021 Azure IoT Central: https://apps.azureiotcentral.com/myapps Cloud Skills Challenge: https://aka.ms/30DaysCSC/IoT  MS Learn: https://aka.ms/mslearniot MSFT IoT Developer Video Channel: https://aka.ms/msiotdevs IoT Tech Community: https://aka.ms/iottechcommunity Azure IoT Docs: https://docs.microsoft.com/en-us/azure/iot-fundamental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Kennedy</dc:creator>
  <cp:lastModifiedBy>Pamela Cortez</cp:lastModifiedBy>
  <cp:revision>71</cp:revision>
  <dcterms:created xsi:type="dcterms:W3CDTF">2020-09-22T18:25:46Z</dcterms:created>
  <dcterms:modified xsi:type="dcterms:W3CDTF">2021-03-29T23:0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22T18:25:46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0e288a68-516b-4f89-9aa9-0b1cc8750d82</vt:lpwstr>
  </property>
  <property fmtid="{D5CDD505-2E9C-101B-9397-08002B2CF9AE}" pid="8" name="MSIP_Label_f42aa342-8706-4288-bd11-ebb85995028c_ContentBits">
    <vt:lpwstr>0</vt:lpwstr>
  </property>
  <property fmtid="{D5CDD505-2E9C-101B-9397-08002B2CF9AE}" pid="9" name="ContentTypeId">
    <vt:lpwstr>0x010100F1C5440DF00361458231CD93B84B4EBD</vt:lpwstr>
  </property>
</Properties>
</file>